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4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E1A4AF-57C0-C0A9-AC76-E21A27C859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72FA45-D193-7F61-3F99-5CCDC2304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72FA45-D193-7F61-3F99-5CCDC2304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389951-A8F5-C3F3-3F2A-743C3B0A7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13E9A8F-5C9F-6B41-A653-1BC3FBE1E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sp>
        <p:nvSpPr>
          <p:cNvPr id="4" name="Google Shape;9250;p133">
            <a:extLst>
              <a:ext uri="{FF2B5EF4-FFF2-40B4-BE49-F238E27FC236}">
                <a16:creationId xmlns:a16="http://schemas.microsoft.com/office/drawing/2014/main" id="{F648A60F-E7A6-FF25-B3C8-7318300C4C79}"/>
              </a:ext>
            </a:extLst>
          </p:cNvPr>
          <p:cNvSpPr/>
          <p:nvPr/>
        </p:nvSpPr>
        <p:spPr>
          <a:xfrm>
            <a:off x="6624037" y="1965750"/>
            <a:ext cx="200494" cy="3408402"/>
          </a:xfrm>
          <a:prstGeom prst="roundRect">
            <a:avLst>
              <a:gd name="adj" fmla="val 50000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9251;p133">
            <a:extLst>
              <a:ext uri="{FF2B5EF4-FFF2-40B4-BE49-F238E27FC236}">
                <a16:creationId xmlns:a16="http://schemas.microsoft.com/office/drawing/2014/main" id="{2E017A07-5F3E-79CC-A8FB-66621F1F1884}"/>
              </a:ext>
            </a:extLst>
          </p:cNvPr>
          <p:cNvSpPr/>
          <p:nvPr/>
        </p:nvSpPr>
        <p:spPr>
          <a:xfrm>
            <a:off x="6624037" y="3330561"/>
            <a:ext cx="200494" cy="204358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9252;p133">
            <a:extLst>
              <a:ext uri="{FF2B5EF4-FFF2-40B4-BE49-F238E27FC236}">
                <a16:creationId xmlns:a16="http://schemas.microsoft.com/office/drawing/2014/main" id="{6D56A29C-5549-821D-5224-0F57472F5C8C}"/>
              </a:ext>
            </a:extLst>
          </p:cNvPr>
          <p:cNvSpPr/>
          <p:nvPr/>
        </p:nvSpPr>
        <p:spPr>
          <a:xfrm>
            <a:off x="6515346" y="3244865"/>
            <a:ext cx="417870" cy="417870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9" name="Google Shape;9253;p133">
            <a:extLst>
              <a:ext uri="{FF2B5EF4-FFF2-40B4-BE49-F238E27FC236}">
                <a16:creationId xmlns:a16="http://schemas.microsoft.com/office/drawing/2014/main" id="{A8220FB9-9C82-F57A-C6AA-25CBA8598621}"/>
              </a:ext>
            </a:extLst>
          </p:cNvPr>
          <p:cNvSpPr txBox="1"/>
          <p:nvPr/>
        </p:nvSpPr>
        <p:spPr>
          <a:xfrm>
            <a:off x="6077222" y="5497561"/>
            <a:ext cx="129412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ea typeface="Calibri"/>
                <a:cs typeface="Calibri"/>
                <a:sym typeface="Calibri"/>
              </a:rPr>
              <a:t>Title</a:t>
            </a:r>
            <a:endParaRPr sz="1600" dirty="0"/>
          </a:p>
          <a:p>
            <a:pPr algn="ctr"/>
            <a:r>
              <a:rPr lang="en-US" sz="1600" dirty="0"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CA9288-D06E-22C3-3B80-16971216D135}"/>
              </a:ext>
            </a:extLst>
          </p:cNvPr>
          <p:cNvGrpSpPr/>
          <p:nvPr/>
        </p:nvGrpSpPr>
        <p:grpSpPr>
          <a:xfrm>
            <a:off x="6594608" y="3324360"/>
            <a:ext cx="259352" cy="259352"/>
            <a:chOff x="4845071" y="2920318"/>
            <a:chExt cx="207734" cy="207734"/>
          </a:xfrm>
        </p:grpSpPr>
        <p:sp>
          <p:nvSpPr>
            <p:cNvPr id="58" name="Google Shape;9255;p133">
              <a:extLst>
                <a:ext uri="{FF2B5EF4-FFF2-40B4-BE49-F238E27FC236}">
                  <a16:creationId xmlns:a16="http://schemas.microsoft.com/office/drawing/2014/main" id="{4560016C-F0A3-DEF6-7524-A63378C55782}"/>
                </a:ext>
              </a:extLst>
            </p:cNvPr>
            <p:cNvSpPr/>
            <p:nvPr/>
          </p:nvSpPr>
          <p:spPr>
            <a:xfrm>
              <a:off x="4845071" y="2920318"/>
              <a:ext cx="147358" cy="171918"/>
            </a:xfrm>
            <a:custGeom>
              <a:avLst/>
              <a:gdLst/>
              <a:ahLst/>
              <a:cxnLst/>
              <a:rect l="l" t="t" r="r" b="b"/>
              <a:pathLst>
                <a:path w="171450" h="200025" extrusionOk="0">
                  <a:moveTo>
                    <a:pt x="7144" y="30004"/>
                  </a:moveTo>
                  <a:lnTo>
                    <a:pt x="7144" y="178594"/>
                  </a:lnTo>
                  <a:cubicBezTo>
                    <a:pt x="7144" y="190976"/>
                    <a:pt x="17621" y="201454"/>
                    <a:pt x="30004" y="201454"/>
                  </a:cubicBezTo>
                  <a:lnTo>
                    <a:pt x="122396" y="201454"/>
                  </a:lnTo>
                  <a:cubicBezTo>
                    <a:pt x="108109" y="187166"/>
                    <a:pt x="103346" y="167164"/>
                    <a:pt x="108109" y="149066"/>
                  </a:cubicBezTo>
                  <a:lnTo>
                    <a:pt x="30004" y="149066"/>
                  </a:lnTo>
                  <a:cubicBezTo>
                    <a:pt x="27146" y="149066"/>
                    <a:pt x="25241" y="147161"/>
                    <a:pt x="25241" y="144304"/>
                  </a:cubicBezTo>
                  <a:cubicBezTo>
                    <a:pt x="25241" y="141446"/>
                    <a:pt x="27146" y="139541"/>
                    <a:pt x="30004" y="139541"/>
                  </a:cubicBezTo>
                  <a:lnTo>
                    <a:pt x="110966" y="139541"/>
                  </a:lnTo>
                  <a:cubicBezTo>
                    <a:pt x="113824" y="132874"/>
                    <a:pt x="117634" y="127159"/>
                    <a:pt x="122396" y="121444"/>
                  </a:cubicBezTo>
                  <a:cubicBezTo>
                    <a:pt x="132874" y="110966"/>
                    <a:pt x="147161" y="105251"/>
                    <a:pt x="162401" y="105251"/>
                  </a:cubicBezTo>
                  <a:cubicBezTo>
                    <a:pt x="162401" y="105251"/>
                    <a:pt x="163354" y="105251"/>
                    <a:pt x="164306" y="105251"/>
                  </a:cubicBezTo>
                  <a:lnTo>
                    <a:pt x="164306" y="29051"/>
                  </a:lnTo>
                  <a:cubicBezTo>
                    <a:pt x="163354" y="17621"/>
                    <a:pt x="153829" y="7144"/>
                    <a:pt x="140494" y="7144"/>
                  </a:cubicBezTo>
                  <a:lnTo>
                    <a:pt x="30004" y="7144"/>
                  </a:lnTo>
                  <a:cubicBezTo>
                    <a:pt x="17621" y="7144"/>
                    <a:pt x="7144" y="17621"/>
                    <a:pt x="7144" y="30004"/>
                  </a:cubicBezTo>
                  <a:close/>
                  <a:moveTo>
                    <a:pt x="30004" y="31909"/>
                  </a:moveTo>
                  <a:lnTo>
                    <a:pt x="140494" y="31909"/>
                  </a:lnTo>
                  <a:cubicBezTo>
                    <a:pt x="143351" y="31909"/>
                    <a:pt x="145256" y="33814"/>
                    <a:pt x="145256" y="36671"/>
                  </a:cubicBezTo>
                  <a:cubicBezTo>
                    <a:pt x="145256" y="39529"/>
                    <a:pt x="143351" y="41434"/>
                    <a:pt x="140494" y="41434"/>
                  </a:cubicBezTo>
                  <a:lnTo>
                    <a:pt x="30004" y="41434"/>
                  </a:lnTo>
                  <a:cubicBezTo>
                    <a:pt x="27146" y="41434"/>
                    <a:pt x="25241" y="39529"/>
                    <a:pt x="25241" y="36671"/>
                  </a:cubicBezTo>
                  <a:cubicBezTo>
                    <a:pt x="25241" y="33814"/>
                    <a:pt x="27146" y="31909"/>
                    <a:pt x="30004" y="31909"/>
                  </a:cubicBezTo>
                  <a:close/>
                  <a:moveTo>
                    <a:pt x="30004" y="59531"/>
                  </a:moveTo>
                  <a:lnTo>
                    <a:pt x="85249" y="59531"/>
                  </a:lnTo>
                  <a:cubicBezTo>
                    <a:pt x="88106" y="59531"/>
                    <a:pt x="90011" y="61436"/>
                    <a:pt x="90011" y="64294"/>
                  </a:cubicBezTo>
                  <a:cubicBezTo>
                    <a:pt x="90011" y="67151"/>
                    <a:pt x="88106" y="69056"/>
                    <a:pt x="85249" y="69056"/>
                  </a:cubicBezTo>
                  <a:lnTo>
                    <a:pt x="30004" y="69056"/>
                  </a:lnTo>
                  <a:cubicBezTo>
                    <a:pt x="27146" y="69056"/>
                    <a:pt x="25241" y="67151"/>
                    <a:pt x="25241" y="64294"/>
                  </a:cubicBezTo>
                  <a:cubicBezTo>
                    <a:pt x="25241" y="61436"/>
                    <a:pt x="27146" y="59531"/>
                    <a:pt x="30004" y="59531"/>
                  </a:cubicBezTo>
                  <a:close/>
                  <a:moveTo>
                    <a:pt x="30004" y="86201"/>
                  </a:moveTo>
                  <a:lnTo>
                    <a:pt x="140494" y="86201"/>
                  </a:lnTo>
                  <a:cubicBezTo>
                    <a:pt x="143351" y="86201"/>
                    <a:pt x="145256" y="88106"/>
                    <a:pt x="145256" y="90964"/>
                  </a:cubicBezTo>
                  <a:cubicBezTo>
                    <a:pt x="145256" y="93821"/>
                    <a:pt x="143351" y="95726"/>
                    <a:pt x="140494" y="95726"/>
                  </a:cubicBezTo>
                  <a:lnTo>
                    <a:pt x="30004" y="95726"/>
                  </a:lnTo>
                  <a:cubicBezTo>
                    <a:pt x="27146" y="95726"/>
                    <a:pt x="25241" y="93821"/>
                    <a:pt x="25241" y="90964"/>
                  </a:cubicBezTo>
                  <a:cubicBezTo>
                    <a:pt x="25241" y="88106"/>
                    <a:pt x="27146" y="86201"/>
                    <a:pt x="30004" y="86201"/>
                  </a:cubicBezTo>
                  <a:close/>
                  <a:moveTo>
                    <a:pt x="30004" y="112871"/>
                  </a:moveTo>
                  <a:lnTo>
                    <a:pt x="85249" y="112871"/>
                  </a:lnTo>
                  <a:cubicBezTo>
                    <a:pt x="88106" y="112871"/>
                    <a:pt x="90011" y="114776"/>
                    <a:pt x="90011" y="117634"/>
                  </a:cubicBezTo>
                  <a:cubicBezTo>
                    <a:pt x="90011" y="120491"/>
                    <a:pt x="88106" y="122396"/>
                    <a:pt x="85249" y="122396"/>
                  </a:cubicBezTo>
                  <a:lnTo>
                    <a:pt x="30004" y="122396"/>
                  </a:lnTo>
                  <a:cubicBezTo>
                    <a:pt x="27146" y="122396"/>
                    <a:pt x="25241" y="120491"/>
                    <a:pt x="25241" y="117634"/>
                  </a:cubicBezTo>
                  <a:cubicBezTo>
                    <a:pt x="25241" y="115729"/>
                    <a:pt x="27146" y="112871"/>
                    <a:pt x="30004" y="112871"/>
                  </a:cubicBezTo>
                  <a:close/>
                  <a:moveTo>
                    <a:pt x="30004" y="167164"/>
                  </a:moveTo>
                  <a:lnTo>
                    <a:pt x="85249" y="167164"/>
                  </a:lnTo>
                  <a:cubicBezTo>
                    <a:pt x="88106" y="167164"/>
                    <a:pt x="90011" y="169069"/>
                    <a:pt x="90011" y="171926"/>
                  </a:cubicBezTo>
                  <a:cubicBezTo>
                    <a:pt x="90011" y="174784"/>
                    <a:pt x="88106" y="176689"/>
                    <a:pt x="85249" y="176689"/>
                  </a:cubicBezTo>
                  <a:lnTo>
                    <a:pt x="30004" y="176689"/>
                  </a:lnTo>
                  <a:cubicBezTo>
                    <a:pt x="27146" y="176689"/>
                    <a:pt x="25241" y="174784"/>
                    <a:pt x="25241" y="171926"/>
                  </a:cubicBezTo>
                  <a:cubicBezTo>
                    <a:pt x="25241" y="169069"/>
                    <a:pt x="27146" y="167164"/>
                    <a:pt x="30004" y="1671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9256;p133">
              <a:extLst>
                <a:ext uri="{FF2B5EF4-FFF2-40B4-BE49-F238E27FC236}">
                  <a16:creationId xmlns:a16="http://schemas.microsoft.com/office/drawing/2014/main" id="{E75E832C-A43E-F76D-09DC-48C9D2033102}"/>
                </a:ext>
              </a:extLst>
            </p:cNvPr>
            <p:cNvSpPr/>
            <p:nvPr/>
          </p:nvSpPr>
          <p:spPr>
            <a:xfrm>
              <a:off x="4938193" y="3013440"/>
              <a:ext cx="114612" cy="114612"/>
            </a:xfrm>
            <a:custGeom>
              <a:avLst/>
              <a:gdLst/>
              <a:ahLst/>
              <a:cxnLst/>
              <a:rect l="l" t="t" r="r" b="b"/>
              <a:pathLst>
                <a:path w="133350" h="133350" extrusionOk="0">
                  <a:moveTo>
                    <a:pt x="82629" y="101679"/>
                  </a:moveTo>
                  <a:lnTo>
                    <a:pt x="104537" y="123587"/>
                  </a:lnTo>
                  <a:cubicBezTo>
                    <a:pt x="110252" y="129302"/>
                    <a:pt x="118824" y="128349"/>
                    <a:pt x="123587" y="123587"/>
                  </a:cubicBezTo>
                  <a:cubicBezTo>
                    <a:pt x="128349" y="118824"/>
                    <a:pt x="128349" y="110252"/>
                    <a:pt x="123587" y="104537"/>
                  </a:cubicBezTo>
                  <a:lnTo>
                    <a:pt x="101679" y="82629"/>
                  </a:lnTo>
                  <a:cubicBezTo>
                    <a:pt x="99774" y="80724"/>
                    <a:pt x="96917" y="80724"/>
                    <a:pt x="95012" y="82629"/>
                  </a:cubicBezTo>
                  <a:lnTo>
                    <a:pt x="92154" y="85487"/>
                  </a:lnTo>
                  <a:lnTo>
                    <a:pt x="90249" y="83582"/>
                  </a:lnTo>
                  <a:cubicBezTo>
                    <a:pt x="106442" y="63579"/>
                    <a:pt x="103584" y="36909"/>
                    <a:pt x="87392" y="20717"/>
                  </a:cubicBezTo>
                  <a:cubicBezTo>
                    <a:pt x="69294" y="2619"/>
                    <a:pt x="38814" y="2619"/>
                    <a:pt x="20717" y="20717"/>
                  </a:cubicBezTo>
                  <a:cubicBezTo>
                    <a:pt x="2619" y="38814"/>
                    <a:pt x="2619" y="68342"/>
                    <a:pt x="20717" y="87392"/>
                  </a:cubicBezTo>
                  <a:cubicBezTo>
                    <a:pt x="36909" y="103584"/>
                    <a:pt x="64532" y="106442"/>
                    <a:pt x="83582" y="90249"/>
                  </a:cubicBezTo>
                  <a:lnTo>
                    <a:pt x="85487" y="92154"/>
                  </a:lnTo>
                  <a:lnTo>
                    <a:pt x="82629" y="95012"/>
                  </a:lnTo>
                  <a:cubicBezTo>
                    <a:pt x="80724" y="96917"/>
                    <a:pt x="80724" y="99774"/>
                    <a:pt x="82629" y="101679"/>
                  </a:cubicBezTo>
                  <a:close/>
                  <a:moveTo>
                    <a:pt x="77867" y="77867"/>
                  </a:moveTo>
                  <a:cubicBezTo>
                    <a:pt x="64532" y="91202"/>
                    <a:pt x="42624" y="91202"/>
                    <a:pt x="29289" y="77867"/>
                  </a:cubicBezTo>
                  <a:cubicBezTo>
                    <a:pt x="15954" y="64532"/>
                    <a:pt x="15954" y="42624"/>
                    <a:pt x="29289" y="29289"/>
                  </a:cubicBezTo>
                  <a:cubicBezTo>
                    <a:pt x="42624" y="15954"/>
                    <a:pt x="64532" y="15954"/>
                    <a:pt x="77867" y="29289"/>
                  </a:cubicBezTo>
                  <a:cubicBezTo>
                    <a:pt x="91202" y="43577"/>
                    <a:pt x="91202" y="64532"/>
                    <a:pt x="77867" y="778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" name="Google Shape;9257;p133">
            <a:extLst>
              <a:ext uri="{FF2B5EF4-FFF2-40B4-BE49-F238E27FC236}">
                <a16:creationId xmlns:a16="http://schemas.microsoft.com/office/drawing/2014/main" id="{6CF33AB7-09EE-FBE4-80CE-C5B233E691DE}"/>
              </a:ext>
            </a:extLst>
          </p:cNvPr>
          <p:cNvSpPr/>
          <p:nvPr/>
        </p:nvSpPr>
        <p:spPr>
          <a:xfrm>
            <a:off x="5093088" y="1965750"/>
            <a:ext cx="200494" cy="3408402"/>
          </a:xfrm>
          <a:prstGeom prst="roundRect">
            <a:avLst>
              <a:gd name="adj" fmla="val 50000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9258;p133">
            <a:extLst>
              <a:ext uri="{FF2B5EF4-FFF2-40B4-BE49-F238E27FC236}">
                <a16:creationId xmlns:a16="http://schemas.microsoft.com/office/drawing/2014/main" id="{33C125DA-9A09-DA8E-6CC9-C558E2906A6B}"/>
              </a:ext>
            </a:extLst>
          </p:cNvPr>
          <p:cNvSpPr/>
          <p:nvPr/>
        </p:nvSpPr>
        <p:spPr>
          <a:xfrm>
            <a:off x="5093088" y="2851270"/>
            <a:ext cx="200494" cy="252288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9259;p133">
            <a:extLst>
              <a:ext uri="{FF2B5EF4-FFF2-40B4-BE49-F238E27FC236}">
                <a16:creationId xmlns:a16="http://schemas.microsoft.com/office/drawing/2014/main" id="{B35ACA24-7C1D-5AF8-D7FC-814F0CCB380E}"/>
              </a:ext>
            </a:extLst>
          </p:cNvPr>
          <p:cNvSpPr/>
          <p:nvPr/>
        </p:nvSpPr>
        <p:spPr>
          <a:xfrm>
            <a:off x="4984396" y="2709892"/>
            <a:ext cx="417870" cy="417870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9260;p133">
            <a:extLst>
              <a:ext uri="{FF2B5EF4-FFF2-40B4-BE49-F238E27FC236}">
                <a16:creationId xmlns:a16="http://schemas.microsoft.com/office/drawing/2014/main" id="{045E1905-FC3F-95B6-C701-FAFB474A8E0C}"/>
              </a:ext>
            </a:extLst>
          </p:cNvPr>
          <p:cNvSpPr txBox="1"/>
          <p:nvPr/>
        </p:nvSpPr>
        <p:spPr>
          <a:xfrm>
            <a:off x="4546272" y="5497561"/>
            <a:ext cx="129412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ea typeface="Calibri"/>
                <a:cs typeface="Calibri"/>
                <a:sym typeface="Calibri"/>
              </a:rPr>
              <a:t>Title</a:t>
            </a:r>
            <a:endParaRPr sz="1600" dirty="0"/>
          </a:p>
          <a:p>
            <a:pPr algn="ctr"/>
            <a:r>
              <a:rPr lang="en-US" sz="1600" dirty="0"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F9AA4C6-B671-3CCF-C602-45897D91F552}"/>
              </a:ext>
            </a:extLst>
          </p:cNvPr>
          <p:cNvGrpSpPr/>
          <p:nvPr/>
        </p:nvGrpSpPr>
        <p:grpSpPr>
          <a:xfrm>
            <a:off x="5063300" y="2760831"/>
            <a:ext cx="260065" cy="316463"/>
            <a:chOff x="3618530" y="2468944"/>
            <a:chExt cx="208305" cy="253479"/>
          </a:xfrm>
        </p:grpSpPr>
        <p:sp>
          <p:nvSpPr>
            <p:cNvPr id="46" name="Google Shape;9262;p133">
              <a:extLst>
                <a:ext uri="{FF2B5EF4-FFF2-40B4-BE49-F238E27FC236}">
                  <a16:creationId xmlns:a16="http://schemas.microsoft.com/office/drawing/2014/main" id="{FB462390-8C28-0467-D899-555E5F84B703}"/>
                </a:ext>
              </a:extLst>
            </p:cNvPr>
            <p:cNvSpPr/>
            <p:nvPr/>
          </p:nvSpPr>
          <p:spPr>
            <a:xfrm>
              <a:off x="3657476" y="2508158"/>
              <a:ext cx="130504" cy="160621"/>
            </a:xfrm>
            <a:custGeom>
              <a:avLst/>
              <a:gdLst/>
              <a:ahLst/>
              <a:cxnLst/>
              <a:rect l="l" t="t" r="r" b="b"/>
              <a:pathLst>
                <a:path w="247650" h="304800" extrusionOk="0">
                  <a:moveTo>
                    <a:pt x="140884" y="7976"/>
                  </a:moveTo>
                  <a:cubicBezTo>
                    <a:pt x="30394" y="-4406"/>
                    <a:pt x="-33424" y="124181"/>
                    <a:pt x="36109" y="206096"/>
                  </a:cubicBezTo>
                  <a:cubicBezTo>
                    <a:pt x="58016" y="231814"/>
                    <a:pt x="71351" y="265151"/>
                    <a:pt x="71351" y="299441"/>
                  </a:cubicBezTo>
                  <a:cubicBezTo>
                    <a:pt x="71351" y="300394"/>
                    <a:pt x="72304" y="301346"/>
                    <a:pt x="73256" y="301346"/>
                  </a:cubicBezTo>
                  <a:lnTo>
                    <a:pt x="180889" y="301346"/>
                  </a:lnTo>
                  <a:cubicBezTo>
                    <a:pt x="181841" y="301346"/>
                    <a:pt x="182794" y="300394"/>
                    <a:pt x="182794" y="299441"/>
                  </a:cubicBezTo>
                  <a:cubicBezTo>
                    <a:pt x="183746" y="295631"/>
                    <a:pt x="177079" y="251816"/>
                    <a:pt x="217084" y="207049"/>
                  </a:cubicBezTo>
                  <a:cubicBezTo>
                    <a:pt x="281854" y="134659"/>
                    <a:pt x="237086" y="18454"/>
                    <a:pt x="140884" y="7976"/>
                  </a:cubicBezTo>
                  <a:close/>
                  <a:moveTo>
                    <a:pt x="105641" y="64174"/>
                  </a:moveTo>
                  <a:cubicBezTo>
                    <a:pt x="82781" y="64174"/>
                    <a:pt x="64684" y="82271"/>
                    <a:pt x="64684" y="105131"/>
                  </a:cubicBezTo>
                  <a:cubicBezTo>
                    <a:pt x="64684" y="109894"/>
                    <a:pt x="60874" y="114656"/>
                    <a:pt x="55159" y="114656"/>
                  </a:cubicBezTo>
                  <a:cubicBezTo>
                    <a:pt x="50396" y="114656"/>
                    <a:pt x="45634" y="110846"/>
                    <a:pt x="45634" y="105131"/>
                  </a:cubicBezTo>
                  <a:cubicBezTo>
                    <a:pt x="45634" y="72746"/>
                    <a:pt x="72304" y="46076"/>
                    <a:pt x="104689" y="46076"/>
                  </a:cubicBezTo>
                  <a:cubicBezTo>
                    <a:pt x="109451" y="46076"/>
                    <a:pt x="114214" y="49886"/>
                    <a:pt x="114214" y="55601"/>
                  </a:cubicBezTo>
                  <a:cubicBezTo>
                    <a:pt x="114214" y="60364"/>
                    <a:pt x="110404" y="64174"/>
                    <a:pt x="105641" y="641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9263;p133">
              <a:extLst>
                <a:ext uri="{FF2B5EF4-FFF2-40B4-BE49-F238E27FC236}">
                  <a16:creationId xmlns:a16="http://schemas.microsoft.com/office/drawing/2014/main" id="{0911B422-3854-F3F4-AFF8-B8DF12A5EFB3}"/>
                </a:ext>
              </a:extLst>
            </p:cNvPr>
            <p:cNvSpPr/>
            <p:nvPr/>
          </p:nvSpPr>
          <p:spPr>
            <a:xfrm>
              <a:off x="3715906" y="2468944"/>
              <a:ext cx="15058" cy="30116"/>
            </a:xfrm>
            <a:custGeom>
              <a:avLst/>
              <a:gdLst/>
              <a:ahLst/>
              <a:cxnLst/>
              <a:rect l="l" t="t" r="r" b="b"/>
              <a:pathLst>
                <a:path w="28575" h="57150" extrusionOk="0">
                  <a:moveTo>
                    <a:pt x="16669" y="57626"/>
                  </a:moveTo>
                  <a:cubicBezTo>
                    <a:pt x="10954" y="57626"/>
                    <a:pt x="7144" y="53816"/>
                    <a:pt x="7144" y="48101"/>
                  </a:cubicBezTo>
                  <a:lnTo>
                    <a:pt x="7144" y="16669"/>
                  </a:lnTo>
                  <a:cubicBezTo>
                    <a:pt x="7144" y="10954"/>
                    <a:pt x="10954" y="7144"/>
                    <a:pt x="16669" y="7144"/>
                  </a:cubicBezTo>
                  <a:cubicBezTo>
                    <a:pt x="22384" y="7144"/>
                    <a:pt x="26194" y="10954"/>
                    <a:pt x="26194" y="16669"/>
                  </a:cubicBezTo>
                  <a:lnTo>
                    <a:pt x="26194" y="48101"/>
                  </a:lnTo>
                  <a:cubicBezTo>
                    <a:pt x="26194" y="52864"/>
                    <a:pt x="22384" y="57626"/>
                    <a:pt x="16669" y="576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9264;p133">
              <a:extLst>
                <a:ext uri="{FF2B5EF4-FFF2-40B4-BE49-F238E27FC236}">
                  <a16:creationId xmlns:a16="http://schemas.microsoft.com/office/drawing/2014/main" id="{98A28879-A833-EF9C-E47F-2EE15A325A1B}"/>
                </a:ext>
              </a:extLst>
            </p:cNvPr>
            <p:cNvSpPr/>
            <p:nvPr/>
          </p:nvSpPr>
          <p:spPr>
            <a:xfrm>
              <a:off x="3667515" y="2481789"/>
              <a:ext cx="25097" cy="30116"/>
            </a:xfrm>
            <a:custGeom>
              <a:avLst/>
              <a:gdLst/>
              <a:ahLst/>
              <a:cxnLst/>
              <a:rect l="l" t="t" r="r" b="b"/>
              <a:pathLst>
                <a:path w="47625" h="57150" extrusionOk="0">
                  <a:moveTo>
                    <a:pt x="23726" y="48491"/>
                  </a:moveTo>
                  <a:lnTo>
                    <a:pt x="8486" y="21821"/>
                  </a:lnTo>
                  <a:cubicBezTo>
                    <a:pt x="5629" y="17059"/>
                    <a:pt x="7534" y="11344"/>
                    <a:pt x="12296" y="8486"/>
                  </a:cubicBezTo>
                  <a:cubicBezTo>
                    <a:pt x="17059" y="5629"/>
                    <a:pt x="22774" y="7534"/>
                    <a:pt x="25631" y="12296"/>
                  </a:cubicBezTo>
                  <a:lnTo>
                    <a:pt x="40871" y="38966"/>
                  </a:lnTo>
                  <a:cubicBezTo>
                    <a:pt x="43729" y="43729"/>
                    <a:pt x="41824" y="49444"/>
                    <a:pt x="37061" y="52301"/>
                  </a:cubicBezTo>
                  <a:cubicBezTo>
                    <a:pt x="31346" y="55159"/>
                    <a:pt x="25631" y="53254"/>
                    <a:pt x="23726" y="484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9265;p133">
              <a:extLst>
                <a:ext uri="{FF2B5EF4-FFF2-40B4-BE49-F238E27FC236}">
                  <a16:creationId xmlns:a16="http://schemas.microsoft.com/office/drawing/2014/main" id="{1CD55E67-F18F-15B7-28A5-71DAEDA1829B}"/>
                </a:ext>
              </a:extLst>
            </p:cNvPr>
            <p:cNvSpPr/>
            <p:nvPr/>
          </p:nvSpPr>
          <p:spPr>
            <a:xfrm>
              <a:off x="3631598" y="2517649"/>
              <a:ext cx="30116" cy="25097"/>
            </a:xfrm>
            <a:custGeom>
              <a:avLst/>
              <a:gdLst/>
              <a:ahLst/>
              <a:cxnLst/>
              <a:rect l="l" t="t" r="r" b="b"/>
              <a:pathLst>
                <a:path w="57150" h="47625" extrusionOk="0">
                  <a:moveTo>
                    <a:pt x="38544" y="40449"/>
                  </a:moveTo>
                  <a:lnTo>
                    <a:pt x="11874" y="25209"/>
                  </a:lnTo>
                  <a:cubicBezTo>
                    <a:pt x="7111" y="22351"/>
                    <a:pt x="6159" y="16636"/>
                    <a:pt x="8064" y="11874"/>
                  </a:cubicBezTo>
                  <a:cubicBezTo>
                    <a:pt x="10921" y="7111"/>
                    <a:pt x="16636" y="6159"/>
                    <a:pt x="21399" y="8064"/>
                  </a:cubicBezTo>
                  <a:lnTo>
                    <a:pt x="48069" y="23304"/>
                  </a:lnTo>
                  <a:cubicBezTo>
                    <a:pt x="52831" y="26161"/>
                    <a:pt x="53784" y="31876"/>
                    <a:pt x="51879" y="36639"/>
                  </a:cubicBezTo>
                  <a:cubicBezTo>
                    <a:pt x="49021" y="41401"/>
                    <a:pt x="43306" y="43306"/>
                    <a:pt x="38544" y="40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9266;p133">
              <a:extLst>
                <a:ext uri="{FF2B5EF4-FFF2-40B4-BE49-F238E27FC236}">
                  <a16:creationId xmlns:a16="http://schemas.microsoft.com/office/drawing/2014/main" id="{581E30B8-36DC-ED47-012F-ADA2F07416B8}"/>
                </a:ext>
              </a:extLst>
            </p:cNvPr>
            <p:cNvSpPr/>
            <p:nvPr/>
          </p:nvSpPr>
          <p:spPr>
            <a:xfrm>
              <a:off x="3618530" y="2566320"/>
              <a:ext cx="30116" cy="15058"/>
            </a:xfrm>
            <a:custGeom>
              <a:avLst/>
              <a:gdLst/>
              <a:ahLst/>
              <a:cxnLst/>
              <a:rect l="l" t="t" r="r" b="b"/>
              <a:pathLst>
                <a:path w="57150" h="28575" extrusionOk="0">
                  <a:moveTo>
                    <a:pt x="47149" y="26194"/>
                  </a:moveTo>
                  <a:lnTo>
                    <a:pt x="16669" y="26194"/>
                  </a:lnTo>
                  <a:cubicBezTo>
                    <a:pt x="10954" y="26194"/>
                    <a:pt x="7144" y="22384"/>
                    <a:pt x="7144" y="16669"/>
                  </a:cubicBezTo>
                  <a:cubicBezTo>
                    <a:pt x="7144" y="10954"/>
                    <a:pt x="10954" y="7144"/>
                    <a:pt x="16669" y="7144"/>
                  </a:cubicBezTo>
                  <a:lnTo>
                    <a:pt x="48101" y="7144"/>
                  </a:lnTo>
                  <a:cubicBezTo>
                    <a:pt x="53816" y="7144"/>
                    <a:pt x="57626" y="10954"/>
                    <a:pt x="57626" y="16669"/>
                  </a:cubicBezTo>
                  <a:cubicBezTo>
                    <a:pt x="56674" y="22384"/>
                    <a:pt x="52864" y="26194"/>
                    <a:pt x="47149" y="261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9267;p133">
              <a:extLst>
                <a:ext uri="{FF2B5EF4-FFF2-40B4-BE49-F238E27FC236}">
                  <a16:creationId xmlns:a16="http://schemas.microsoft.com/office/drawing/2014/main" id="{0200C1E5-AFC2-7B5A-A27C-57B484ECDBDE}"/>
                </a:ext>
              </a:extLst>
            </p:cNvPr>
            <p:cNvSpPr/>
            <p:nvPr/>
          </p:nvSpPr>
          <p:spPr>
            <a:xfrm>
              <a:off x="3631375" y="2606771"/>
              <a:ext cx="30116" cy="25097"/>
            </a:xfrm>
            <a:custGeom>
              <a:avLst/>
              <a:gdLst/>
              <a:ahLst/>
              <a:cxnLst/>
              <a:rect l="l" t="t" r="r" b="b"/>
              <a:pathLst>
                <a:path w="57150" h="47625" extrusionOk="0">
                  <a:moveTo>
                    <a:pt x="8486" y="37061"/>
                  </a:moveTo>
                  <a:cubicBezTo>
                    <a:pt x="5629" y="32299"/>
                    <a:pt x="7534" y="26584"/>
                    <a:pt x="12296" y="23726"/>
                  </a:cubicBezTo>
                  <a:lnTo>
                    <a:pt x="38966" y="8486"/>
                  </a:lnTo>
                  <a:cubicBezTo>
                    <a:pt x="43729" y="5629"/>
                    <a:pt x="49444" y="7534"/>
                    <a:pt x="52301" y="12296"/>
                  </a:cubicBezTo>
                  <a:cubicBezTo>
                    <a:pt x="55159" y="17059"/>
                    <a:pt x="53254" y="22774"/>
                    <a:pt x="48491" y="25631"/>
                  </a:cubicBezTo>
                  <a:lnTo>
                    <a:pt x="21821" y="40871"/>
                  </a:lnTo>
                  <a:cubicBezTo>
                    <a:pt x="17059" y="43729"/>
                    <a:pt x="11344" y="41824"/>
                    <a:pt x="8486" y="370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9268;p133">
              <a:extLst>
                <a:ext uri="{FF2B5EF4-FFF2-40B4-BE49-F238E27FC236}">
                  <a16:creationId xmlns:a16="http://schemas.microsoft.com/office/drawing/2014/main" id="{3EFD3D8D-77D5-32DD-7394-1D29474B1FBD}"/>
                </a:ext>
              </a:extLst>
            </p:cNvPr>
            <p:cNvSpPr/>
            <p:nvPr/>
          </p:nvSpPr>
          <p:spPr>
            <a:xfrm>
              <a:off x="3786195" y="2606994"/>
              <a:ext cx="30116" cy="25097"/>
            </a:xfrm>
            <a:custGeom>
              <a:avLst/>
              <a:gdLst/>
              <a:ahLst/>
              <a:cxnLst/>
              <a:rect l="l" t="t" r="r" b="b"/>
              <a:pathLst>
                <a:path w="57150" h="47625" extrusionOk="0">
                  <a:moveTo>
                    <a:pt x="38544" y="40449"/>
                  </a:moveTo>
                  <a:lnTo>
                    <a:pt x="11874" y="25209"/>
                  </a:lnTo>
                  <a:cubicBezTo>
                    <a:pt x="7111" y="22351"/>
                    <a:pt x="6159" y="16636"/>
                    <a:pt x="8064" y="11874"/>
                  </a:cubicBezTo>
                  <a:cubicBezTo>
                    <a:pt x="10921" y="7111"/>
                    <a:pt x="16636" y="6159"/>
                    <a:pt x="21399" y="8064"/>
                  </a:cubicBezTo>
                  <a:lnTo>
                    <a:pt x="48069" y="23304"/>
                  </a:lnTo>
                  <a:cubicBezTo>
                    <a:pt x="52831" y="26161"/>
                    <a:pt x="53784" y="31876"/>
                    <a:pt x="51879" y="36639"/>
                  </a:cubicBezTo>
                  <a:cubicBezTo>
                    <a:pt x="49021" y="41401"/>
                    <a:pt x="43306" y="43306"/>
                    <a:pt x="38544" y="40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9269;p133">
              <a:extLst>
                <a:ext uri="{FF2B5EF4-FFF2-40B4-BE49-F238E27FC236}">
                  <a16:creationId xmlns:a16="http://schemas.microsoft.com/office/drawing/2014/main" id="{ADC39AB3-ABD8-DFDA-F69D-BF577E91AF8C}"/>
                </a:ext>
              </a:extLst>
            </p:cNvPr>
            <p:cNvSpPr/>
            <p:nvPr/>
          </p:nvSpPr>
          <p:spPr>
            <a:xfrm>
              <a:off x="3796719" y="2566320"/>
              <a:ext cx="30116" cy="15058"/>
            </a:xfrm>
            <a:custGeom>
              <a:avLst/>
              <a:gdLst/>
              <a:ahLst/>
              <a:cxnLst/>
              <a:rect l="l" t="t" r="r" b="b"/>
              <a:pathLst>
                <a:path w="57150" h="28575" extrusionOk="0">
                  <a:moveTo>
                    <a:pt x="48101" y="26194"/>
                  </a:moveTo>
                  <a:lnTo>
                    <a:pt x="16669" y="26194"/>
                  </a:lnTo>
                  <a:cubicBezTo>
                    <a:pt x="10954" y="26194"/>
                    <a:pt x="7144" y="22384"/>
                    <a:pt x="7144" y="16669"/>
                  </a:cubicBezTo>
                  <a:cubicBezTo>
                    <a:pt x="7144" y="10954"/>
                    <a:pt x="10954" y="7144"/>
                    <a:pt x="16669" y="7144"/>
                  </a:cubicBezTo>
                  <a:lnTo>
                    <a:pt x="48101" y="7144"/>
                  </a:lnTo>
                  <a:cubicBezTo>
                    <a:pt x="53816" y="7144"/>
                    <a:pt x="57626" y="10954"/>
                    <a:pt x="57626" y="16669"/>
                  </a:cubicBezTo>
                  <a:cubicBezTo>
                    <a:pt x="57626" y="22384"/>
                    <a:pt x="53816" y="26194"/>
                    <a:pt x="48101" y="261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9270;p133">
              <a:extLst>
                <a:ext uri="{FF2B5EF4-FFF2-40B4-BE49-F238E27FC236}">
                  <a16:creationId xmlns:a16="http://schemas.microsoft.com/office/drawing/2014/main" id="{0B58DED6-8FA1-1D7E-A26F-6095FAB75EE9}"/>
                </a:ext>
              </a:extLst>
            </p:cNvPr>
            <p:cNvSpPr/>
            <p:nvPr/>
          </p:nvSpPr>
          <p:spPr>
            <a:xfrm>
              <a:off x="3785972" y="2517929"/>
              <a:ext cx="30116" cy="25097"/>
            </a:xfrm>
            <a:custGeom>
              <a:avLst/>
              <a:gdLst/>
              <a:ahLst/>
              <a:cxnLst/>
              <a:rect l="l" t="t" r="r" b="b"/>
              <a:pathLst>
                <a:path w="57150" h="47625" extrusionOk="0">
                  <a:moveTo>
                    <a:pt x="8486" y="37061"/>
                  </a:moveTo>
                  <a:cubicBezTo>
                    <a:pt x="5629" y="32299"/>
                    <a:pt x="7534" y="26584"/>
                    <a:pt x="12296" y="23726"/>
                  </a:cubicBezTo>
                  <a:lnTo>
                    <a:pt x="38966" y="8486"/>
                  </a:lnTo>
                  <a:cubicBezTo>
                    <a:pt x="43729" y="5629"/>
                    <a:pt x="49444" y="7534"/>
                    <a:pt x="52301" y="12296"/>
                  </a:cubicBezTo>
                  <a:cubicBezTo>
                    <a:pt x="55159" y="17059"/>
                    <a:pt x="53254" y="22774"/>
                    <a:pt x="48491" y="25631"/>
                  </a:cubicBezTo>
                  <a:lnTo>
                    <a:pt x="21821" y="40871"/>
                  </a:lnTo>
                  <a:cubicBezTo>
                    <a:pt x="17059" y="42776"/>
                    <a:pt x="11344" y="40871"/>
                    <a:pt x="8486" y="370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9271;p133">
              <a:extLst>
                <a:ext uri="{FF2B5EF4-FFF2-40B4-BE49-F238E27FC236}">
                  <a16:creationId xmlns:a16="http://schemas.microsoft.com/office/drawing/2014/main" id="{410B6ECD-F3DC-6AFA-24A1-E9F5173EA858}"/>
                </a:ext>
              </a:extLst>
            </p:cNvPr>
            <p:cNvSpPr/>
            <p:nvPr/>
          </p:nvSpPr>
          <p:spPr>
            <a:xfrm>
              <a:off x="3756580" y="2482011"/>
              <a:ext cx="25097" cy="30116"/>
            </a:xfrm>
            <a:custGeom>
              <a:avLst/>
              <a:gdLst/>
              <a:ahLst/>
              <a:cxnLst/>
              <a:rect l="l" t="t" r="r" b="b"/>
              <a:pathLst>
                <a:path w="47625" h="57150" extrusionOk="0">
                  <a:moveTo>
                    <a:pt x="11874" y="51879"/>
                  </a:moveTo>
                  <a:cubicBezTo>
                    <a:pt x="7111" y="49021"/>
                    <a:pt x="6159" y="43306"/>
                    <a:pt x="8064" y="38544"/>
                  </a:cubicBezTo>
                  <a:lnTo>
                    <a:pt x="23304" y="11874"/>
                  </a:lnTo>
                  <a:cubicBezTo>
                    <a:pt x="26161" y="7111"/>
                    <a:pt x="31876" y="6159"/>
                    <a:pt x="36639" y="8064"/>
                  </a:cubicBezTo>
                  <a:cubicBezTo>
                    <a:pt x="41401" y="10921"/>
                    <a:pt x="42354" y="16636"/>
                    <a:pt x="40449" y="21399"/>
                  </a:cubicBezTo>
                  <a:lnTo>
                    <a:pt x="25209" y="48069"/>
                  </a:lnTo>
                  <a:cubicBezTo>
                    <a:pt x="22351" y="52831"/>
                    <a:pt x="16636" y="54736"/>
                    <a:pt x="11874" y="518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9272;p133">
              <a:extLst>
                <a:ext uri="{FF2B5EF4-FFF2-40B4-BE49-F238E27FC236}">
                  <a16:creationId xmlns:a16="http://schemas.microsoft.com/office/drawing/2014/main" id="{45562CA2-90A9-968B-2155-57050F83412F}"/>
                </a:ext>
              </a:extLst>
            </p:cNvPr>
            <p:cNvSpPr/>
            <p:nvPr/>
          </p:nvSpPr>
          <p:spPr>
            <a:xfrm>
              <a:off x="3688300" y="2671225"/>
              <a:ext cx="70271" cy="20078"/>
            </a:xfrm>
            <a:custGeom>
              <a:avLst/>
              <a:gdLst/>
              <a:ahLst/>
              <a:cxnLst/>
              <a:rect l="l" t="t" r="r" b="b"/>
              <a:pathLst>
                <a:path w="133350" h="38100" extrusionOk="0">
                  <a:moveTo>
                    <a:pt x="130969" y="19526"/>
                  </a:moveTo>
                  <a:cubicBezTo>
                    <a:pt x="130969" y="26194"/>
                    <a:pt x="126206" y="31909"/>
                    <a:pt x="119539" y="31909"/>
                  </a:cubicBezTo>
                  <a:lnTo>
                    <a:pt x="18574" y="31909"/>
                  </a:lnTo>
                  <a:cubicBezTo>
                    <a:pt x="11906" y="31909"/>
                    <a:pt x="7144" y="26194"/>
                    <a:pt x="7144" y="19526"/>
                  </a:cubicBezTo>
                  <a:cubicBezTo>
                    <a:pt x="7144" y="12859"/>
                    <a:pt x="11906" y="7144"/>
                    <a:pt x="18574" y="7144"/>
                  </a:cubicBezTo>
                  <a:lnTo>
                    <a:pt x="119539" y="7144"/>
                  </a:lnTo>
                  <a:cubicBezTo>
                    <a:pt x="126206" y="7144"/>
                    <a:pt x="130969" y="12859"/>
                    <a:pt x="130969" y="19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9273;p133">
              <a:extLst>
                <a:ext uri="{FF2B5EF4-FFF2-40B4-BE49-F238E27FC236}">
                  <a16:creationId xmlns:a16="http://schemas.microsoft.com/office/drawing/2014/main" id="{C2B218FD-812A-F35C-6885-6332B347C794}"/>
                </a:ext>
              </a:extLst>
            </p:cNvPr>
            <p:cNvSpPr/>
            <p:nvPr/>
          </p:nvSpPr>
          <p:spPr>
            <a:xfrm>
              <a:off x="3688300" y="2692307"/>
              <a:ext cx="70271" cy="30116"/>
            </a:xfrm>
            <a:custGeom>
              <a:avLst/>
              <a:gdLst/>
              <a:ahLst/>
              <a:cxnLst/>
              <a:rect l="l" t="t" r="r" b="b"/>
              <a:pathLst>
                <a:path w="133350" h="57150" extrusionOk="0">
                  <a:moveTo>
                    <a:pt x="130969" y="19526"/>
                  </a:moveTo>
                  <a:cubicBezTo>
                    <a:pt x="130969" y="26194"/>
                    <a:pt x="126206" y="31909"/>
                    <a:pt x="119539" y="31909"/>
                  </a:cubicBezTo>
                  <a:lnTo>
                    <a:pt x="94774" y="31909"/>
                  </a:lnTo>
                  <a:cubicBezTo>
                    <a:pt x="89059" y="42386"/>
                    <a:pt x="79534" y="50006"/>
                    <a:pt x="69056" y="50006"/>
                  </a:cubicBezTo>
                  <a:cubicBezTo>
                    <a:pt x="58579" y="50006"/>
                    <a:pt x="48101" y="42386"/>
                    <a:pt x="43339" y="31909"/>
                  </a:cubicBezTo>
                  <a:lnTo>
                    <a:pt x="18574" y="31909"/>
                  </a:lnTo>
                  <a:cubicBezTo>
                    <a:pt x="11906" y="31909"/>
                    <a:pt x="7144" y="26194"/>
                    <a:pt x="7144" y="19526"/>
                  </a:cubicBezTo>
                  <a:cubicBezTo>
                    <a:pt x="7144" y="12859"/>
                    <a:pt x="11906" y="7144"/>
                    <a:pt x="18574" y="7144"/>
                  </a:cubicBezTo>
                  <a:lnTo>
                    <a:pt x="119539" y="7144"/>
                  </a:lnTo>
                  <a:cubicBezTo>
                    <a:pt x="126206" y="7144"/>
                    <a:pt x="130969" y="12859"/>
                    <a:pt x="130969" y="19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" name="Google Shape;9274;p133">
            <a:extLst>
              <a:ext uri="{FF2B5EF4-FFF2-40B4-BE49-F238E27FC236}">
                <a16:creationId xmlns:a16="http://schemas.microsoft.com/office/drawing/2014/main" id="{0FD1792D-BC3D-B1B7-57E3-64838FB31470}"/>
              </a:ext>
            </a:extLst>
          </p:cNvPr>
          <p:cNvSpPr/>
          <p:nvPr/>
        </p:nvSpPr>
        <p:spPr>
          <a:xfrm>
            <a:off x="3562140" y="1965750"/>
            <a:ext cx="200494" cy="3408402"/>
          </a:xfrm>
          <a:prstGeom prst="roundRect">
            <a:avLst>
              <a:gd name="adj" fmla="val 50000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9275;p133">
            <a:extLst>
              <a:ext uri="{FF2B5EF4-FFF2-40B4-BE49-F238E27FC236}">
                <a16:creationId xmlns:a16="http://schemas.microsoft.com/office/drawing/2014/main" id="{4F156B9A-68B2-B5A6-BD71-FA3D47DCB9B0}"/>
              </a:ext>
            </a:extLst>
          </p:cNvPr>
          <p:cNvSpPr/>
          <p:nvPr/>
        </p:nvSpPr>
        <p:spPr>
          <a:xfrm>
            <a:off x="3562140" y="3330561"/>
            <a:ext cx="200494" cy="204358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9276;p133">
            <a:extLst>
              <a:ext uri="{FF2B5EF4-FFF2-40B4-BE49-F238E27FC236}">
                <a16:creationId xmlns:a16="http://schemas.microsoft.com/office/drawing/2014/main" id="{9DE6D52B-D38D-678D-FE3A-94F47C3331DF}"/>
              </a:ext>
            </a:extLst>
          </p:cNvPr>
          <p:cNvSpPr/>
          <p:nvPr/>
        </p:nvSpPr>
        <p:spPr>
          <a:xfrm>
            <a:off x="3453446" y="3244865"/>
            <a:ext cx="417870" cy="417870"/>
          </a:xfrm>
          <a:prstGeom prst="ellipse">
            <a:avLst/>
          </a:prstGeom>
          <a:solidFill>
            <a:schemeClr val="tx2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9277;p133">
            <a:extLst>
              <a:ext uri="{FF2B5EF4-FFF2-40B4-BE49-F238E27FC236}">
                <a16:creationId xmlns:a16="http://schemas.microsoft.com/office/drawing/2014/main" id="{DEDE6B35-8074-0DFF-4251-628AEAFFC311}"/>
              </a:ext>
            </a:extLst>
          </p:cNvPr>
          <p:cNvSpPr txBox="1"/>
          <p:nvPr/>
        </p:nvSpPr>
        <p:spPr>
          <a:xfrm>
            <a:off x="3015321" y="5497561"/>
            <a:ext cx="129412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ea typeface="Calibri"/>
                <a:cs typeface="Calibri"/>
                <a:sym typeface="Calibri"/>
              </a:rPr>
              <a:t>Title</a:t>
            </a:r>
            <a:endParaRPr sz="1600" dirty="0"/>
          </a:p>
          <a:p>
            <a:pPr algn="ctr"/>
            <a:r>
              <a:rPr lang="en-US" sz="1600" dirty="0"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F67B953-5698-2CC3-B321-2B5ED632E7E9}"/>
              </a:ext>
            </a:extLst>
          </p:cNvPr>
          <p:cNvGrpSpPr/>
          <p:nvPr/>
        </p:nvGrpSpPr>
        <p:grpSpPr>
          <a:xfrm>
            <a:off x="3535444" y="3335468"/>
            <a:ext cx="253877" cy="237136"/>
            <a:chOff x="2394756" y="2929215"/>
            <a:chExt cx="203349" cy="189940"/>
          </a:xfrm>
        </p:grpSpPr>
        <p:sp>
          <p:nvSpPr>
            <p:cNvPr id="40" name="Google Shape;9279;p133">
              <a:extLst>
                <a:ext uri="{FF2B5EF4-FFF2-40B4-BE49-F238E27FC236}">
                  <a16:creationId xmlns:a16="http://schemas.microsoft.com/office/drawing/2014/main" id="{C702A970-C532-F9BF-6B62-8C32C066C509}"/>
                </a:ext>
              </a:extLst>
            </p:cNvPr>
            <p:cNvSpPr/>
            <p:nvPr/>
          </p:nvSpPr>
          <p:spPr>
            <a:xfrm>
              <a:off x="2394756" y="2929215"/>
              <a:ext cx="203349" cy="189940"/>
            </a:xfrm>
            <a:custGeom>
              <a:avLst/>
              <a:gdLst/>
              <a:ahLst/>
              <a:cxnLst/>
              <a:rect l="l" t="t" r="r" b="b"/>
              <a:pathLst>
                <a:path w="866775" h="809625" extrusionOk="0">
                  <a:moveTo>
                    <a:pt x="847696" y="105766"/>
                  </a:moveTo>
                  <a:lnTo>
                    <a:pt x="814340" y="72409"/>
                  </a:lnTo>
                  <a:cubicBezTo>
                    <a:pt x="798890" y="56960"/>
                    <a:pt x="775078" y="55502"/>
                    <a:pt x="761419" y="69161"/>
                  </a:cubicBezTo>
                  <a:lnTo>
                    <a:pt x="647329" y="183242"/>
                  </a:lnTo>
                  <a:lnTo>
                    <a:pt x="647329" y="84630"/>
                  </a:lnTo>
                  <a:cubicBezTo>
                    <a:pt x="647329" y="41900"/>
                    <a:pt x="612572" y="7144"/>
                    <a:pt x="569843" y="7144"/>
                  </a:cubicBezTo>
                  <a:lnTo>
                    <a:pt x="84630" y="7144"/>
                  </a:lnTo>
                  <a:cubicBezTo>
                    <a:pt x="41900" y="7144"/>
                    <a:pt x="7144" y="41900"/>
                    <a:pt x="7144" y="84630"/>
                  </a:cubicBezTo>
                  <a:lnTo>
                    <a:pt x="7144" y="727129"/>
                  </a:lnTo>
                  <a:cubicBezTo>
                    <a:pt x="7144" y="769858"/>
                    <a:pt x="41900" y="804624"/>
                    <a:pt x="84630" y="804624"/>
                  </a:cubicBezTo>
                  <a:lnTo>
                    <a:pt x="569843" y="804624"/>
                  </a:lnTo>
                  <a:cubicBezTo>
                    <a:pt x="612562" y="804624"/>
                    <a:pt x="647329" y="769868"/>
                    <a:pt x="647329" y="727129"/>
                  </a:cubicBezTo>
                  <a:lnTo>
                    <a:pt x="647329" y="362083"/>
                  </a:lnTo>
                  <a:lnTo>
                    <a:pt x="850945" y="158687"/>
                  </a:lnTo>
                  <a:cubicBezTo>
                    <a:pt x="864622" y="145028"/>
                    <a:pt x="863136" y="121206"/>
                    <a:pt x="847696" y="105766"/>
                  </a:cubicBezTo>
                  <a:close/>
                  <a:moveTo>
                    <a:pt x="597751" y="727129"/>
                  </a:moveTo>
                  <a:cubicBezTo>
                    <a:pt x="597751" y="742521"/>
                    <a:pt x="585245" y="755047"/>
                    <a:pt x="569843" y="755047"/>
                  </a:cubicBezTo>
                  <a:lnTo>
                    <a:pt x="84630" y="755047"/>
                  </a:lnTo>
                  <a:cubicBezTo>
                    <a:pt x="69228" y="755047"/>
                    <a:pt x="56721" y="742531"/>
                    <a:pt x="56721" y="727129"/>
                  </a:cubicBezTo>
                  <a:lnTo>
                    <a:pt x="56721" y="84630"/>
                  </a:lnTo>
                  <a:cubicBezTo>
                    <a:pt x="56721" y="69237"/>
                    <a:pt x="69228" y="56721"/>
                    <a:pt x="84630" y="56721"/>
                  </a:cubicBezTo>
                  <a:lnTo>
                    <a:pt x="569843" y="56721"/>
                  </a:lnTo>
                  <a:cubicBezTo>
                    <a:pt x="585235" y="56721"/>
                    <a:pt x="597751" y="69237"/>
                    <a:pt x="597751" y="84630"/>
                  </a:cubicBezTo>
                  <a:lnTo>
                    <a:pt x="597751" y="232820"/>
                  </a:lnTo>
                  <a:lnTo>
                    <a:pt x="448847" y="381733"/>
                  </a:lnTo>
                  <a:lnTo>
                    <a:pt x="538201" y="471107"/>
                  </a:lnTo>
                  <a:lnTo>
                    <a:pt x="597751" y="411613"/>
                  </a:lnTo>
                  <a:lnTo>
                    <a:pt x="597751" y="727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9280;p133">
              <a:extLst>
                <a:ext uri="{FF2B5EF4-FFF2-40B4-BE49-F238E27FC236}">
                  <a16:creationId xmlns:a16="http://schemas.microsoft.com/office/drawing/2014/main" id="{C591FE0C-B561-D3ED-D89A-426D3EEEFBB0}"/>
                </a:ext>
              </a:extLst>
            </p:cNvPr>
            <p:cNvSpPr/>
            <p:nvPr/>
          </p:nvSpPr>
          <p:spPr>
            <a:xfrm>
              <a:off x="2485686" y="3022762"/>
              <a:ext cx="31284" cy="31284"/>
            </a:xfrm>
            <a:custGeom>
              <a:avLst/>
              <a:gdLst/>
              <a:ahLst/>
              <a:cxnLst/>
              <a:rect l="l" t="t" r="r" b="b"/>
              <a:pathLst>
                <a:path w="133350" h="133350" extrusionOk="0">
                  <a:moveTo>
                    <a:pt x="8680" y="100755"/>
                  </a:moveTo>
                  <a:cubicBezTo>
                    <a:pt x="2946" y="119691"/>
                    <a:pt x="13766" y="130559"/>
                    <a:pt x="32750" y="124835"/>
                  </a:cubicBezTo>
                  <a:lnTo>
                    <a:pt x="126504" y="96488"/>
                  </a:lnTo>
                  <a:lnTo>
                    <a:pt x="37122" y="7144"/>
                  </a:lnTo>
                  <a:lnTo>
                    <a:pt x="8680" y="10075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9281;p133">
              <a:extLst>
                <a:ext uri="{FF2B5EF4-FFF2-40B4-BE49-F238E27FC236}">
                  <a16:creationId xmlns:a16="http://schemas.microsoft.com/office/drawing/2014/main" id="{ADB4BC02-D381-7795-4D5B-EE47D828F1AC}"/>
                </a:ext>
              </a:extLst>
            </p:cNvPr>
            <p:cNvSpPr/>
            <p:nvPr/>
          </p:nvSpPr>
          <p:spPr>
            <a:xfrm>
              <a:off x="2416747" y="2962989"/>
              <a:ext cx="105026" cy="13408"/>
            </a:xfrm>
            <a:custGeom>
              <a:avLst/>
              <a:gdLst/>
              <a:ahLst/>
              <a:cxnLst/>
              <a:rect l="l" t="t" r="r" b="b"/>
              <a:pathLst>
                <a:path w="447675" h="57150" extrusionOk="0">
                  <a:moveTo>
                    <a:pt x="31937" y="56731"/>
                  </a:moveTo>
                  <a:lnTo>
                    <a:pt x="419271" y="56731"/>
                  </a:lnTo>
                  <a:cubicBezTo>
                    <a:pt x="432949" y="56731"/>
                    <a:pt x="444065" y="45634"/>
                    <a:pt x="444065" y="31937"/>
                  </a:cubicBezTo>
                  <a:cubicBezTo>
                    <a:pt x="444065" y="18250"/>
                    <a:pt x="432949" y="7144"/>
                    <a:pt x="419271" y="7144"/>
                  </a:cubicBezTo>
                  <a:lnTo>
                    <a:pt x="31937" y="7144"/>
                  </a:lnTo>
                  <a:cubicBezTo>
                    <a:pt x="18240" y="7144"/>
                    <a:pt x="7144" y="18250"/>
                    <a:pt x="7144" y="31937"/>
                  </a:cubicBezTo>
                  <a:cubicBezTo>
                    <a:pt x="7144" y="45634"/>
                    <a:pt x="18240" y="56731"/>
                    <a:pt x="31937" y="567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9282;p133">
              <a:extLst>
                <a:ext uri="{FF2B5EF4-FFF2-40B4-BE49-F238E27FC236}">
                  <a16:creationId xmlns:a16="http://schemas.microsoft.com/office/drawing/2014/main" id="{42F29CCB-B87E-4373-1BAE-3492BDB19177}"/>
                </a:ext>
              </a:extLst>
            </p:cNvPr>
            <p:cNvSpPr/>
            <p:nvPr/>
          </p:nvSpPr>
          <p:spPr>
            <a:xfrm>
              <a:off x="2416747" y="3069855"/>
              <a:ext cx="105026" cy="13408"/>
            </a:xfrm>
            <a:custGeom>
              <a:avLst/>
              <a:gdLst/>
              <a:ahLst/>
              <a:cxnLst/>
              <a:rect l="l" t="t" r="r" b="b"/>
              <a:pathLst>
                <a:path w="447675" h="57150" extrusionOk="0">
                  <a:moveTo>
                    <a:pt x="419271" y="7144"/>
                  </a:moveTo>
                  <a:lnTo>
                    <a:pt x="31937" y="7144"/>
                  </a:lnTo>
                  <a:cubicBezTo>
                    <a:pt x="18240" y="7144"/>
                    <a:pt x="7144" y="18231"/>
                    <a:pt x="7144" y="31937"/>
                  </a:cubicBezTo>
                  <a:cubicBezTo>
                    <a:pt x="7144" y="45615"/>
                    <a:pt x="18240" y="56731"/>
                    <a:pt x="31937" y="56731"/>
                  </a:cubicBezTo>
                  <a:lnTo>
                    <a:pt x="419271" y="56731"/>
                  </a:lnTo>
                  <a:cubicBezTo>
                    <a:pt x="432949" y="56731"/>
                    <a:pt x="444065" y="45615"/>
                    <a:pt x="444065" y="31937"/>
                  </a:cubicBezTo>
                  <a:cubicBezTo>
                    <a:pt x="444056" y="18231"/>
                    <a:pt x="432940" y="7144"/>
                    <a:pt x="419271" y="71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9283;p133">
              <a:extLst>
                <a:ext uri="{FF2B5EF4-FFF2-40B4-BE49-F238E27FC236}">
                  <a16:creationId xmlns:a16="http://schemas.microsoft.com/office/drawing/2014/main" id="{54958719-0DFD-28A3-4578-F5297152DEAC}"/>
                </a:ext>
              </a:extLst>
            </p:cNvPr>
            <p:cNvSpPr/>
            <p:nvPr/>
          </p:nvSpPr>
          <p:spPr>
            <a:xfrm>
              <a:off x="2416747" y="2998608"/>
              <a:ext cx="71507" cy="13408"/>
            </a:xfrm>
            <a:custGeom>
              <a:avLst/>
              <a:gdLst/>
              <a:ahLst/>
              <a:cxnLst/>
              <a:rect l="l" t="t" r="r" b="b"/>
              <a:pathLst>
                <a:path w="304800" h="57150" extrusionOk="0">
                  <a:moveTo>
                    <a:pt x="31937" y="56731"/>
                  </a:moveTo>
                  <a:lnTo>
                    <a:pt x="275815" y="56731"/>
                  </a:lnTo>
                  <a:cubicBezTo>
                    <a:pt x="289493" y="56731"/>
                    <a:pt x="300609" y="45634"/>
                    <a:pt x="300609" y="31937"/>
                  </a:cubicBezTo>
                  <a:cubicBezTo>
                    <a:pt x="300609" y="18250"/>
                    <a:pt x="289493" y="7144"/>
                    <a:pt x="275815" y="7144"/>
                  </a:cubicBezTo>
                  <a:lnTo>
                    <a:pt x="31937" y="7144"/>
                  </a:lnTo>
                  <a:cubicBezTo>
                    <a:pt x="18240" y="7144"/>
                    <a:pt x="7144" y="18250"/>
                    <a:pt x="7144" y="31937"/>
                  </a:cubicBezTo>
                  <a:cubicBezTo>
                    <a:pt x="7144" y="45634"/>
                    <a:pt x="18240" y="56731"/>
                    <a:pt x="31937" y="567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9284;p133">
              <a:extLst>
                <a:ext uri="{FF2B5EF4-FFF2-40B4-BE49-F238E27FC236}">
                  <a16:creationId xmlns:a16="http://schemas.microsoft.com/office/drawing/2014/main" id="{D15321DD-B1E0-B41B-1BB2-AB1782DAE1F8}"/>
                </a:ext>
              </a:extLst>
            </p:cNvPr>
            <p:cNvSpPr/>
            <p:nvPr/>
          </p:nvSpPr>
          <p:spPr>
            <a:xfrm>
              <a:off x="2416747" y="3034232"/>
              <a:ext cx="60334" cy="13408"/>
            </a:xfrm>
            <a:custGeom>
              <a:avLst/>
              <a:gdLst/>
              <a:ahLst/>
              <a:cxnLst/>
              <a:rect l="l" t="t" r="r" b="b"/>
              <a:pathLst>
                <a:path w="257175" h="57150" extrusionOk="0">
                  <a:moveTo>
                    <a:pt x="31937" y="56731"/>
                  </a:moveTo>
                  <a:lnTo>
                    <a:pt x="230248" y="56731"/>
                  </a:lnTo>
                  <a:cubicBezTo>
                    <a:pt x="243935" y="56731"/>
                    <a:pt x="255041" y="45615"/>
                    <a:pt x="255041" y="31937"/>
                  </a:cubicBezTo>
                  <a:cubicBezTo>
                    <a:pt x="255041" y="18231"/>
                    <a:pt x="243935" y="7144"/>
                    <a:pt x="230248" y="7144"/>
                  </a:cubicBezTo>
                  <a:lnTo>
                    <a:pt x="31937" y="7144"/>
                  </a:lnTo>
                  <a:cubicBezTo>
                    <a:pt x="18240" y="7144"/>
                    <a:pt x="7144" y="18221"/>
                    <a:pt x="7144" y="31937"/>
                  </a:cubicBezTo>
                  <a:cubicBezTo>
                    <a:pt x="7144" y="45615"/>
                    <a:pt x="18240" y="56731"/>
                    <a:pt x="31937" y="567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" name="Google Shape;9285;p133">
            <a:extLst>
              <a:ext uri="{FF2B5EF4-FFF2-40B4-BE49-F238E27FC236}">
                <a16:creationId xmlns:a16="http://schemas.microsoft.com/office/drawing/2014/main" id="{AC13FAD9-57A0-E3BC-5576-FCEFC98E0F7F}"/>
              </a:ext>
            </a:extLst>
          </p:cNvPr>
          <p:cNvSpPr/>
          <p:nvPr/>
        </p:nvSpPr>
        <p:spPr>
          <a:xfrm>
            <a:off x="2031191" y="1965750"/>
            <a:ext cx="200494" cy="3408402"/>
          </a:xfrm>
          <a:prstGeom prst="roundRect">
            <a:avLst>
              <a:gd name="adj" fmla="val 50000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9286;p133">
            <a:extLst>
              <a:ext uri="{FF2B5EF4-FFF2-40B4-BE49-F238E27FC236}">
                <a16:creationId xmlns:a16="http://schemas.microsoft.com/office/drawing/2014/main" id="{1109FD7B-9D95-A97D-558C-63500E697EB8}"/>
              </a:ext>
            </a:extLst>
          </p:cNvPr>
          <p:cNvSpPr/>
          <p:nvPr/>
        </p:nvSpPr>
        <p:spPr>
          <a:xfrm>
            <a:off x="2031191" y="3879444"/>
            <a:ext cx="200494" cy="149470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9287;p133">
            <a:extLst>
              <a:ext uri="{FF2B5EF4-FFF2-40B4-BE49-F238E27FC236}">
                <a16:creationId xmlns:a16="http://schemas.microsoft.com/office/drawing/2014/main" id="{08EC1D94-8218-D1C5-A627-0E19E53E1AD0}"/>
              </a:ext>
            </a:extLst>
          </p:cNvPr>
          <p:cNvSpPr/>
          <p:nvPr/>
        </p:nvSpPr>
        <p:spPr>
          <a:xfrm>
            <a:off x="1922499" y="3779837"/>
            <a:ext cx="417870" cy="417870"/>
          </a:xfrm>
          <a:prstGeom prst="ellipse">
            <a:avLst/>
          </a:prstGeom>
          <a:solidFill>
            <a:schemeClr val="accent3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9288;p133">
            <a:extLst>
              <a:ext uri="{FF2B5EF4-FFF2-40B4-BE49-F238E27FC236}">
                <a16:creationId xmlns:a16="http://schemas.microsoft.com/office/drawing/2014/main" id="{D469CF66-DA3F-2258-5FB9-67E523AECC60}"/>
              </a:ext>
            </a:extLst>
          </p:cNvPr>
          <p:cNvSpPr txBox="1"/>
          <p:nvPr/>
        </p:nvSpPr>
        <p:spPr>
          <a:xfrm>
            <a:off x="1484374" y="5497561"/>
            <a:ext cx="129412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ea typeface="Calibri"/>
                <a:cs typeface="Calibri"/>
                <a:sym typeface="Calibri"/>
              </a:rPr>
              <a:t>Title</a:t>
            </a:r>
            <a:endParaRPr sz="1600" dirty="0"/>
          </a:p>
          <a:p>
            <a:pPr algn="ctr"/>
            <a:r>
              <a:rPr lang="en-US" sz="1600" dirty="0"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  <p:sp>
        <p:nvSpPr>
          <p:cNvPr id="25" name="Google Shape;9289;p133">
            <a:extLst>
              <a:ext uri="{FF2B5EF4-FFF2-40B4-BE49-F238E27FC236}">
                <a16:creationId xmlns:a16="http://schemas.microsoft.com/office/drawing/2014/main" id="{AD1B0997-7C91-F952-FD89-227BA6B253CE}"/>
              </a:ext>
            </a:extLst>
          </p:cNvPr>
          <p:cNvSpPr/>
          <p:nvPr/>
        </p:nvSpPr>
        <p:spPr>
          <a:xfrm>
            <a:off x="1987714" y="3845287"/>
            <a:ext cx="287447" cy="287447"/>
          </a:xfrm>
          <a:custGeom>
            <a:avLst/>
            <a:gdLst/>
            <a:ahLst/>
            <a:cxnLst/>
            <a:rect l="l" t="t" r="r" b="b"/>
            <a:pathLst>
              <a:path w="933450" h="933450" extrusionOk="0">
                <a:moveTo>
                  <a:pt x="500063" y="854362"/>
                </a:moveTo>
                <a:lnTo>
                  <a:pt x="526733" y="827692"/>
                </a:lnTo>
                <a:cubicBezTo>
                  <a:pt x="538472" y="815949"/>
                  <a:pt x="540079" y="797470"/>
                  <a:pt x="530543" y="783877"/>
                </a:cubicBezTo>
                <a:lnTo>
                  <a:pt x="504635" y="746920"/>
                </a:lnTo>
                <a:cubicBezTo>
                  <a:pt x="514663" y="729551"/>
                  <a:pt x="522380" y="710947"/>
                  <a:pt x="527590" y="691580"/>
                </a:cubicBezTo>
                <a:lnTo>
                  <a:pt x="571976" y="683769"/>
                </a:lnTo>
                <a:cubicBezTo>
                  <a:pt x="588426" y="681029"/>
                  <a:pt x="600499" y="666822"/>
                  <a:pt x="600551" y="650146"/>
                </a:cubicBezTo>
                <a:lnTo>
                  <a:pt x="600551" y="612046"/>
                </a:lnTo>
                <a:cubicBezTo>
                  <a:pt x="600499" y="595370"/>
                  <a:pt x="588426" y="581163"/>
                  <a:pt x="571976" y="578423"/>
                </a:cubicBezTo>
                <a:lnTo>
                  <a:pt x="527590" y="570612"/>
                </a:lnTo>
                <a:cubicBezTo>
                  <a:pt x="522380" y="551245"/>
                  <a:pt x="514663" y="532641"/>
                  <a:pt x="504635" y="515272"/>
                </a:cubicBezTo>
                <a:lnTo>
                  <a:pt x="530543" y="478791"/>
                </a:lnTo>
                <a:cubicBezTo>
                  <a:pt x="540079" y="465198"/>
                  <a:pt x="538472" y="446719"/>
                  <a:pt x="526733" y="434976"/>
                </a:cubicBezTo>
                <a:lnTo>
                  <a:pt x="500063" y="408306"/>
                </a:lnTo>
                <a:cubicBezTo>
                  <a:pt x="488320" y="396567"/>
                  <a:pt x="469840" y="394960"/>
                  <a:pt x="456248" y="404496"/>
                </a:cubicBezTo>
                <a:lnTo>
                  <a:pt x="419290" y="430404"/>
                </a:lnTo>
                <a:cubicBezTo>
                  <a:pt x="401923" y="420373"/>
                  <a:pt x="383319" y="412655"/>
                  <a:pt x="363950" y="407449"/>
                </a:cubicBezTo>
                <a:lnTo>
                  <a:pt x="356140" y="363062"/>
                </a:lnTo>
                <a:cubicBezTo>
                  <a:pt x="353399" y="346613"/>
                  <a:pt x="339193" y="334539"/>
                  <a:pt x="322517" y="334487"/>
                </a:cubicBezTo>
                <a:lnTo>
                  <a:pt x="284417" y="334487"/>
                </a:lnTo>
                <a:cubicBezTo>
                  <a:pt x="267740" y="334539"/>
                  <a:pt x="253534" y="346613"/>
                  <a:pt x="250793" y="363062"/>
                </a:cubicBezTo>
                <a:lnTo>
                  <a:pt x="242983" y="407449"/>
                </a:lnTo>
                <a:cubicBezTo>
                  <a:pt x="223615" y="412657"/>
                  <a:pt x="205011" y="420375"/>
                  <a:pt x="187643" y="430404"/>
                </a:cubicBezTo>
                <a:lnTo>
                  <a:pt x="151162" y="404496"/>
                </a:lnTo>
                <a:cubicBezTo>
                  <a:pt x="137569" y="394960"/>
                  <a:pt x="119090" y="396567"/>
                  <a:pt x="107347" y="408306"/>
                </a:cubicBezTo>
                <a:lnTo>
                  <a:pt x="80677" y="434976"/>
                </a:lnTo>
                <a:cubicBezTo>
                  <a:pt x="69027" y="446792"/>
                  <a:pt x="67541" y="465265"/>
                  <a:pt x="77153" y="478791"/>
                </a:cubicBezTo>
                <a:lnTo>
                  <a:pt x="103061" y="515748"/>
                </a:lnTo>
                <a:cubicBezTo>
                  <a:pt x="93029" y="533115"/>
                  <a:pt x="85312" y="551720"/>
                  <a:pt x="80105" y="571088"/>
                </a:cubicBezTo>
                <a:lnTo>
                  <a:pt x="35719" y="578899"/>
                </a:lnTo>
                <a:cubicBezTo>
                  <a:pt x="19269" y="581639"/>
                  <a:pt x="7196" y="595846"/>
                  <a:pt x="7144" y="612522"/>
                </a:cubicBezTo>
                <a:lnTo>
                  <a:pt x="7144" y="650622"/>
                </a:lnTo>
                <a:cubicBezTo>
                  <a:pt x="7196" y="667298"/>
                  <a:pt x="19269" y="681505"/>
                  <a:pt x="35719" y="684245"/>
                </a:cubicBezTo>
                <a:lnTo>
                  <a:pt x="80105" y="692056"/>
                </a:lnTo>
                <a:cubicBezTo>
                  <a:pt x="85311" y="711425"/>
                  <a:pt x="93028" y="730030"/>
                  <a:pt x="103061" y="747396"/>
                </a:cubicBezTo>
                <a:lnTo>
                  <a:pt x="77153" y="783877"/>
                </a:lnTo>
                <a:cubicBezTo>
                  <a:pt x="67616" y="797470"/>
                  <a:pt x="69223" y="815949"/>
                  <a:pt x="80963" y="827692"/>
                </a:cubicBezTo>
                <a:lnTo>
                  <a:pt x="107633" y="854362"/>
                </a:lnTo>
                <a:cubicBezTo>
                  <a:pt x="119375" y="866101"/>
                  <a:pt x="137855" y="867708"/>
                  <a:pt x="151448" y="858172"/>
                </a:cubicBezTo>
                <a:lnTo>
                  <a:pt x="188405" y="832264"/>
                </a:lnTo>
                <a:cubicBezTo>
                  <a:pt x="205774" y="842291"/>
                  <a:pt x="224378" y="850008"/>
                  <a:pt x="243745" y="855219"/>
                </a:cubicBezTo>
                <a:lnTo>
                  <a:pt x="251555" y="899606"/>
                </a:lnTo>
                <a:cubicBezTo>
                  <a:pt x="254296" y="916055"/>
                  <a:pt x="268502" y="928129"/>
                  <a:pt x="285179" y="928181"/>
                </a:cubicBezTo>
                <a:lnTo>
                  <a:pt x="323279" y="928181"/>
                </a:lnTo>
                <a:cubicBezTo>
                  <a:pt x="339955" y="928129"/>
                  <a:pt x="354161" y="916055"/>
                  <a:pt x="356902" y="899606"/>
                </a:cubicBezTo>
                <a:lnTo>
                  <a:pt x="364712" y="855219"/>
                </a:lnTo>
                <a:cubicBezTo>
                  <a:pt x="384081" y="850012"/>
                  <a:pt x="402685" y="842295"/>
                  <a:pt x="420053" y="832264"/>
                </a:cubicBezTo>
                <a:lnTo>
                  <a:pt x="456248" y="857886"/>
                </a:lnTo>
                <a:cubicBezTo>
                  <a:pt x="469773" y="867498"/>
                  <a:pt x="488247" y="866012"/>
                  <a:pt x="500062" y="854362"/>
                </a:cubicBezTo>
                <a:close/>
                <a:moveTo>
                  <a:pt x="303657" y="733013"/>
                </a:moveTo>
                <a:cubicBezTo>
                  <a:pt x="247475" y="733013"/>
                  <a:pt x="201930" y="687469"/>
                  <a:pt x="201930" y="631286"/>
                </a:cubicBezTo>
                <a:cubicBezTo>
                  <a:pt x="201930" y="575104"/>
                  <a:pt x="247475" y="529559"/>
                  <a:pt x="303657" y="529559"/>
                </a:cubicBezTo>
                <a:cubicBezTo>
                  <a:pt x="359839" y="529559"/>
                  <a:pt x="405384" y="575104"/>
                  <a:pt x="405384" y="631286"/>
                </a:cubicBezTo>
                <a:cubicBezTo>
                  <a:pt x="405384" y="631318"/>
                  <a:pt x="405384" y="631350"/>
                  <a:pt x="405384" y="631382"/>
                </a:cubicBezTo>
                <a:cubicBezTo>
                  <a:pt x="405331" y="687527"/>
                  <a:pt x="359802" y="733013"/>
                  <a:pt x="303657" y="733013"/>
                </a:cubicBezTo>
                <a:close/>
                <a:moveTo>
                  <a:pt x="917258" y="169419"/>
                </a:moveTo>
                <a:cubicBezTo>
                  <a:pt x="912935" y="153420"/>
                  <a:pt x="897762" y="142823"/>
                  <a:pt x="881253" y="144273"/>
                </a:cubicBezTo>
                <a:lnTo>
                  <a:pt x="840867" y="147797"/>
                </a:lnTo>
                <a:cubicBezTo>
                  <a:pt x="826784" y="126552"/>
                  <a:pt x="808582" y="108350"/>
                  <a:pt x="787337" y="94267"/>
                </a:cubicBezTo>
                <a:lnTo>
                  <a:pt x="790861" y="53881"/>
                </a:lnTo>
                <a:cubicBezTo>
                  <a:pt x="792350" y="37309"/>
                  <a:pt x="781695" y="22071"/>
                  <a:pt x="765620" y="17781"/>
                </a:cubicBezTo>
                <a:lnTo>
                  <a:pt x="729234" y="8256"/>
                </a:lnTo>
                <a:cubicBezTo>
                  <a:pt x="713092" y="4044"/>
                  <a:pt x="696268" y="12094"/>
                  <a:pt x="689420" y="27306"/>
                </a:cubicBezTo>
                <a:lnTo>
                  <a:pt x="672275" y="63501"/>
                </a:lnTo>
                <a:cubicBezTo>
                  <a:pt x="646852" y="64998"/>
                  <a:pt x="621997" y="71641"/>
                  <a:pt x="599218" y="83027"/>
                </a:cubicBezTo>
                <a:lnTo>
                  <a:pt x="565976" y="59691"/>
                </a:lnTo>
                <a:cubicBezTo>
                  <a:pt x="552383" y="50155"/>
                  <a:pt x="533903" y="51762"/>
                  <a:pt x="522161" y="63501"/>
                </a:cubicBezTo>
                <a:lnTo>
                  <a:pt x="495490" y="90171"/>
                </a:lnTo>
                <a:cubicBezTo>
                  <a:pt x="483751" y="101914"/>
                  <a:pt x="482144" y="120393"/>
                  <a:pt x="491680" y="133986"/>
                </a:cubicBezTo>
                <a:lnTo>
                  <a:pt x="515303" y="167228"/>
                </a:lnTo>
                <a:cubicBezTo>
                  <a:pt x="503916" y="190008"/>
                  <a:pt x="497273" y="214862"/>
                  <a:pt x="495776" y="240285"/>
                </a:cubicBezTo>
                <a:lnTo>
                  <a:pt x="458629" y="257811"/>
                </a:lnTo>
                <a:cubicBezTo>
                  <a:pt x="443417" y="264659"/>
                  <a:pt x="435367" y="281484"/>
                  <a:pt x="439579" y="297626"/>
                </a:cubicBezTo>
                <a:lnTo>
                  <a:pt x="449104" y="334011"/>
                </a:lnTo>
                <a:cubicBezTo>
                  <a:pt x="453388" y="350049"/>
                  <a:pt x="468571" y="360693"/>
                  <a:pt x="485108" y="359252"/>
                </a:cubicBezTo>
                <a:lnTo>
                  <a:pt x="525494" y="355728"/>
                </a:lnTo>
                <a:cubicBezTo>
                  <a:pt x="539577" y="376973"/>
                  <a:pt x="557780" y="395176"/>
                  <a:pt x="579025" y="409259"/>
                </a:cubicBezTo>
                <a:lnTo>
                  <a:pt x="575501" y="449645"/>
                </a:lnTo>
                <a:cubicBezTo>
                  <a:pt x="574282" y="466128"/>
                  <a:pt x="585027" y="481124"/>
                  <a:pt x="601028" y="485268"/>
                </a:cubicBezTo>
                <a:lnTo>
                  <a:pt x="637413" y="494793"/>
                </a:lnTo>
                <a:cubicBezTo>
                  <a:pt x="653555" y="499005"/>
                  <a:pt x="670380" y="490955"/>
                  <a:pt x="677228" y="475743"/>
                </a:cubicBezTo>
                <a:lnTo>
                  <a:pt x="694373" y="438881"/>
                </a:lnTo>
                <a:cubicBezTo>
                  <a:pt x="719898" y="437555"/>
                  <a:pt x="744886" y="431041"/>
                  <a:pt x="767810" y="419736"/>
                </a:cubicBezTo>
                <a:lnTo>
                  <a:pt x="801053" y="443358"/>
                </a:lnTo>
                <a:cubicBezTo>
                  <a:pt x="814645" y="452895"/>
                  <a:pt x="833125" y="451288"/>
                  <a:pt x="844868" y="439548"/>
                </a:cubicBezTo>
                <a:lnTo>
                  <a:pt x="871538" y="412878"/>
                </a:lnTo>
                <a:cubicBezTo>
                  <a:pt x="883277" y="401135"/>
                  <a:pt x="884884" y="382656"/>
                  <a:pt x="875348" y="369063"/>
                </a:cubicBezTo>
                <a:lnTo>
                  <a:pt x="852011" y="335821"/>
                </a:lnTo>
                <a:cubicBezTo>
                  <a:pt x="863398" y="313041"/>
                  <a:pt x="870041" y="288187"/>
                  <a:pt x="871538" y="262764"/>
                </a:cubicBezTo>
                <a:lnTo>
                  <a:pt x="908399" y="245619"/>
                </a:lnTo>
                <a:cubicBezTo>
                  <a:pt x="923611" y="238771"/>
                  <a:pt x="931661" y="221946"/>
                  <a:pt x="927449" y="205805"/>
                </a:cubicBezTo>
                <a:close/>
                <a:moveTo>
                  <a:pt x="734378" y="301912"/>
                </a:moveTo>
                <a:cubicBezTo>
                  <a:pt x="706418" y="329599"/>
                  <a:pt x="661307" y="329378"/>
                  <a:pt x="633620" y="301418"/>
                </a:cubicBezTo>
                <a:cubicBezTo>
                  <a:pt x="605933" y="273459"/>
                  <a:pt x="606154" y="228348"/>
                  <a:pt x="634114" y="200661"/>
                </a:cubicBezTo>
                <a:cubicBezTo>
                  <a:pt x="661880" y="173166"/>
                  <a:pt x="706611" y="173166"/>
                  <a:pt x="734378" y="200661"/>
                </a:cubicBezTo>
                <a:cubicBezTo>
                  <a:pt x="762337" y="228348"/>
                  <a:pt x="762558" y="273459"/>
                  <a:pt x="734871" y="301418"/>
                </a:cubicBezTo>
                <a:cubicBezTo>
                  <a:pt x="734707" y="301584"/>
                  <a:pt x="734543" y="301748"/>
                  <a:pt x="734378" y="3019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endParaRPr sz="200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9290;p133">
            <a:extLst>
              <a:ext uri="{FF2B5EF4-FFF2-40B4-BE49-F238E27FC236}">
                <a16:creationId xmlns:a16="http://schemas.microsoft.com/office/drawing/2014/main" id="{66751083-D74C-CC1C-E39D-4C37445A50C3}"/>
              </a:ext>
            </a:extLst>
          </p:cNvPr>
          <p:cNvSpPr txBox="1"/>
          <p:nvPr/>
        </p:nvSpPr>
        <p:spPr>
          <a:xfrm>
            <a:off x="7608170" y="5497561"/>
            <a:ext cx="129412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ea typeface="Calibri"/>
                <a:cs typeface="Calibri"/>
                <a:sym typeface="Calibri"/>
              </a:rPr>
              <a:t>Title</a:t>
            </a:r>
            <a:endParaRPr sz="1600" dirty="0"/>
          </a:p>
          <a:p>
            <a:pPr algn="ctr"/>
            <a:r>
              <a:rPr lang="en-US" sz="1600" dirty="0"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  <p:sp>
        <p:nvSpPr>
          <p:cNvPr id="27" name="Google Shape;9291;p133">
            <a:extLst>
              <a:ext uri="{FF2B5EF4-FFF2-40B4-BE49-F238E27FC236}">
                <a16:creationId xmlns:a16="http://schemas.microsoft.com/office/drawing/2014/main" id="{8E94C56A-9D95-90FA-81C3-B2C2B117421A}"/>
              </a:ext>
            </a:extLst>
          </p:cNvPr>
          <p:cNvSpPr/>
          <p:nvPr/>
        </p:nvSpPr>
        <p:spPr>
          <a:xfrm>
            <a:off x="8154988" y="1965750"/>
            <a:ext cx="200494" cy="3408402"/>
          </a:xfrm>
          <a:prstGeom prst="roundRect">
            <a:avLst>
              <a:gd name="adj" fmla="val 50000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8" name="Shape0_20211103_133140">
            <a:extLst>
              <a:ext uri="{FF2B5EF4-FFF2-40B4-BE49-F238E27FC236}">
                <a16:creationId xmlns:a16="http://schemas.microsoft.com/office/drawing/2014/main" id="{59AA6316-D154-62BB-9C36-EC7BDAB202F3}"/>
              </a:ext>
            </a:extLst>
          </p:cNvPr>
          <p:cNvSpPr/>
          <p:nvPr/>
        </p:nvSpPr>
        <p:spPr>
          <a:xfrm>
            <a:off x="8154988" y="3070717"/>
            <a:ext cx="200494" cy="230310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" name="Shape1_20211103_133140">
            <a:extLst>
              <a:ext uri="{FF2B5EF4-FFF2-40B4-BE49-F238E27FC236}">
                <a16:creationId xmlns:a16="http://schemas.microsoft.com/office/drawing/2014/main" id="{98BE1DA1-933B-66B6-4BD2-7D72E4EFDBFC}"/>
              </a:ext>
            </a:extLst>
          </p:cNvPr>
          <p:cNvSpPr/>
          <p:nvPr/>
        </p:nvSpPr>
        <p:spPr>
          <a:xfrm>
            <a:off x="8046296" y="2778243"/>
            <a:ext cx="417870" cy="417870"/>
          </a:xfrm>
          <a:prstGeom prst="ellipse">
            <a:avLst/>
          </a:prstGeom>
          <a:solidFill>
            <a:schemeClr val="accent4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AEDA588-520E-B6CA-CA92-AAFDCC82B636}"/>
              </a:ext>
            </a:extLst>
          </p:cNvPr>
          <p:cNvGrpSpPr/>
          <p:nvPr/>
        </p:nvGrpSpPr>
        <p:grpSpPr>
          <a:xfrm>
            <a:off x="8144179" y="2876125"/>
            <a:ext cx="222111" cy="222111"/>
            <a:chOff x="6086238" y="2561292"/>
            <a:chExt cx="177905" cy="177905"/>
          </a:xfrm>
        </p:grpSpPr>
        <p:sp>
          <p:nvSpPr>
            <p:cNvPr id="38" name="Google Shape;9295;p133">
              <a:extLst>
                <a:ext uri="{FF2B5EF4-FFF2-40B4-BE49-F238E27FC236}">
                  <a16:creationId xmlns:a16="http://schemas.microsoft.com/office/drawing/2014/main" id="{DBCC78FF-5770-E0AE-A83D-BB9B005EC03D}"/>
                </a:ext>
              </a:extLst>
            </p:cNvPr>
            <p:cNvSpPr/>
            <p:nvPr/>
          </p:nvSpPr>
          <p:spPr>
            <a:xfrm>
              <a:off x="6086238" y="2561292"/>
              <a:ext cx="177905" cy="177905"/>
            </a:xfrm>
            <a:custGeom>
              <a:avLst/>
              <a:gdLst/>
              <a:ahLst/>
              <a:cxnLst/>
              <a:rect l="l" t="t" r="r" b="b"/>
              <a:pathLst>
                <a:path w="533400" h="533400" extrusionOk="0">
                  <a:moveTo>
                    <a:pt x="492919" y="511969"/>
                  </a:moveTo>
                  <a:lnTo>
                    <a:pt x="492919" y="178594"/>
                  </a:lnTo>
                  <a:lnTo>
                    <a:pt x="378619" y="178594"/>
                  </a:lnTo>
                  <a:lnTo>
                    <a:pt x="378619" y="511969"/>
                  </a:lnTo>
                  <a:lnTo>
                    <a:pt x="330994" y="511969"/>
                  </a:lnTo>
                  <a:lnTo>
                    <a:pt x="330994" y="226219"/>
                  </a:lnTo>
                  <a:lnTo>
                    <a:pt x="216694" y="226219"/>
                  </a:lnTo>
                  <a:lnTo>
                    <a:pt x="216694" y="511969"/>
                  </a:lnTo>
                  <a:lnTo>
                    <a:pt x="169069" y="511969"/>
                  </a:lnTo>
                  <a:lnTo>
                    <a:pt x="169069" y="273844"/>
                  </a:lnTo>
                  <a:lnTo>
                    <a:pt x="54769" y="273844"/>
                  </a:lnTo>
                  <a:lnTo>
                    <a:pt x="54769" y="511969"/>
                  </a:lnTo>
                  <a:lnTo>
                    <a:pt x="26194" y="511969"/>
                  </a:lnTo>
                  <a:lnTo>
                    <a:pt x="26194" y="7144"/>
                  </a:lnTo>
                  <a:lnTo>
                    <a:pt x="7144" y="7144"/>
                  </a:lnTo>
                  <a:lnTo>
                    <a:pt x="7144" y="531019"/>
                  </a:lnTo>
                  <a:lnTo>
                    <a:pt x="54769" y="531019"/>
                  </a:lnTo>
                  <a:lnTo>
                    <a:pt x="169069" y="531019"/>
                  </a:lnTo>
                  <a:lnTo>
                    <a:pt x="216694" y="531019"/>
                  </a:lnTo>
                  <a:lnTo>
                    <a:pt x="330994" y="531019"/>
                  </a:lnTo>
                  <a:lnTo>
                    <a:pt x="378619" y="531019"/>
                  </a:lnTo>
                  <a:lnTo>
                    <a:pt x="492919" y="531019"/>
                  </a:lnTo>
                  <a:lnTo>
                    <a:pt x="531019" y="531019"/>
                  </a:lnTo>
                  <a:lnTo>
                    <a:pt x="531019" y="5119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9296;p133">
              <a:extLst>
                <a:ext uri="{FF2B5EF4-FFF2-40B4-BE49-F238E27FC236}">
                  <a16:creationId xmlns:a16="http://schemas.microsoft.com/office/drawing/2014/main" id="{434C628E-F31C-E715-52A4-615F0C64AD9E}"/>
                </a:ext>
              </a:extLst>
            </p:cNvPr>
            <p:cNvSpPr/>
            <p:nvPr/>
          </p:nvSpPr>
          <p:spPr>
            <a:xfrm>
              <a:off x="6104027" y="2562722"/>
              <a:ext cx="139783" cy="73068"/>
            </a:xfrm>
            <a:custGeom>
              <a:avLst/>
              <a:gdLst/>
              <a:ahLst/>
              <a:cxnLst/>
              <a:rect l="l" t="t" r="r" b="b"/>
              <a:pathLst>
                <a:path w="419100" h="219075" extrusionOk="0">
                  <a:moveTo>
                    <a:pt x="14771" y="221170"/>
                  </a:moveTo>
                  <a:lnTo>
                    <a:pt x="347951" y="74867"/>
                  </a:lnTo>
                  <a:lnTo>
                    <a:pt x="373093" y="131445"/>
                  </a:lnTo>
                  <a:lnTo>
                    <a:pt x="414533" y="34767"/>
                  </a:lnTo>
                  <a:lnTo>
                    <a:pt x="317850" y="7144"/>
                  </a:lnTo>
                  <a:lnTo>
                    <a:pt x="340240" y="57436"/>
                  </a:lnTo>
                  <a:lnTo>
                    <a:pt x="7144" y="2036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93007" tIns="96478" rIns="193007" bIns="96478" anchor="ctr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9297;p133">
            <a:extLst>
              <a:ext uri="{FF2B5EF4-FFF2-40B4-BE49-F238E27FC236}">
                <a16:creationId xmlns:a16="http://schemas.microsoft.com/office/drawing/2014/main" id="{6E2F435E-FEF2-12E6-39B7-976993E9422F}"/>
              </a:ext>
            </a:extLst>
          </p:cNvPr>
          <p:cNvSpPr txBox="1"/>
          <p:nvPr/>
        </p:nvSpPr>
        <p:spPr>
          <a:xfrm>
            <a:off x="9139117" y="5497561"/>
            <a:ext cx="129412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1600" b="1" dirty="0">
                <a:ea typeface="Calibri"/>
                <a:cs typeface="Calibri"/>
                <a:sym typeface="Calibri"/>
              </a:rPr>
              <a:t>Title</a:t>
            </a:r>
            <a:endParaRPr sz="1600" dirty="0"/>
          </a:p>
          <a:p>
            <a:pPr algn="ctr"/>
            <a:r>
              <a:rPr lang="en-US" sz="1600" dirty="0">
                <a:ea typeface="Calibri"/>
                <a:cs typeface="Calibri"/>
                <a:sym typeface="Calibri"/>
              </a:rPr>
              <a:t>Insert Text Here</a:t>
            </a:r>
            <a:endParaRPr sz="1600" dirty="0"/>
          </a:p>
        </p:txBody>
      </p:sp>
      <p:sp>
        <p:nvSpPr>
          <p:cNvPr id="32" name="Google Shape;9298;p133">
            <a:extLst>
              <a:ext uri="{FF2B5EF4-FFF2-40B4-BE49-F238E27FC236}">
                <a16:creationId xmlns:a16="http://schemas.microsoft.com/office/drawing/2014/main" id="{7E673B0C-2925-7A43-C86F-408FAC6A453D}"/>
              </a:ext>
            </a:extLst>
          </p:cNvPr>
          <p:cNvSpPr/>
          <p:nvPr/>
        </p:nvSpPr>
        <p:spPr>
          <a:xfrm>
            <a:off x="9685935" y="1965750"/>
            <a:ext cx="200494" cy="3408402"/>
          </a:xfrm>
          <a:prstGeom prst="roundRect">
            <a:avLst>
              <a:gd name="adj" fmla="val 50000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3" name="Shape0_20211103_133137">
            <a:extLst>
              <a:ext uri="{FF2B5EF4-FFF2-40B4-BE49-F238E27FC236}">
                <a16:creationId xmlns:a16="http://schemas.microsoft.com/office/drawing/2014/main" id="{96318B7B-976C-63E0-6855-812A1A4CF63B}"/>
              </a:ext>
            </a:extLst>
          </p:cNvPr>
          <p:cNvSpPr/>
          <p:nvPr/>
        </p:nvSpPr>
        <p:spPr>
          <a:xfrm>
            <a:off x="9685935" y="3330561"/>
            <a:ext cx="200494" cy="204358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4" name="Shape1_20211103_133137">
            <a:extLst>
              <a:ext uri="{FF2B5EF4-FFF2-40B4-BE49-F238E27FC236}">
                <a16:creationId xmlns:a16="http://schemas.microsoft.com/office/drawing/2014/main" id="{7F6F881D-0AB9-353A-D400-115D37DC36DB}"/>
              </a:ext>
            </a:extLst>
          </p:cNvPr>
          <p:cNvSpPr/>
          <p:nvPr/>
        </p:nvSpPr>
        <p:spPr>
          <a:xfrm>
            <a:off x="9577243" y="3244865"/>
            <a:ext cx="417870" cy="417870"/>
          </a:xfrm>
          <a:prstGeom prst="ellipse">
            <a:avLst/>
          </a:prstGeom>
          <a:solidFill>
            <a:schemeClr val="accent6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93007" tIns="96478" rIns="193007" bIns="96478" anchor="ctr" anchorCtr="0">
            <a:noAutofit/>
          </a:bodyPr>
          <a:lstStyle/>
          <a:p>
            <a:pPr algn="ctr"/>
            <a:endParaRPr sz="2800">
              <a:solidFill>
                <a:schemeClr val="lt1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13DECC6-21D4-1DF3-FAB4-4CBD90F7314E}"/>
              </a:ext>
            </a:extLst>
          </p:cNvPr>
          <p:cNvGrpSpPr/>
          <p:nvPr/>
        </p:nvGrpSpPr>
        <p:grpSpPr>
          <a:xfrm>
            <a:off x="9690775" y="3336995"/>
            <a:ext cx="177633" cy="238952"/>
            <a:chOff x="7325024" y="2930438"/>
            <a:chExt cx="142279" cy="191395"/>
          </a:xfrm>
          <a:solidFill>
            <a:schemeClr val="tx1"/>
          </a:solidFill>
        </p:grpSpPr>
        <p:sp>
          <p:nvSpPr>
            <p:cNvPr id="36" name="Google Shape;9302;p133">
              <a:extLst>
                <a:ext uri="{FF2B5EF4-FFF2-40B4-BE49-F238E27FC236}">
                  <a16:creationId xmlns:a16="http://schemas.microsoft.com/office/drawing/2014/main" id="{F122F459-9E7A-F0A6-83DF-C5A5F5F79DC3}"/>
                </a:ext>
              </a:extLst>
            </p:cNvPr>
            <p:cNvSpPr/>
            <p:nvPr/>
          </p:nvSpPr>
          <p:spPr>
            <a:xfrm>
              <a:off x="7325024" y="2930438"/>
              <a:ext cx="142279" cy="191395"/>
            </a:xfrm>
            <a:custGeom>
              <a:avLst/>
              <a:gdLst/>
              <a:ahLst/>
              <a:cxnLst/>
              <a:rect l="l" t="t" r="r" b="b"/>
              <a:pathLst>
                <a:path w="718" h="967" extrusionOk="0">
                  <a:moveTo>
                    <a:pt x="341" y="0"/>
                  </a:moveTo>
                  <a:cubicBezTo>
                    <a:pt x="557" y="0"/>
                    <a:pt x="718" y="158"/>
                    <a:pt x="715" y="350"/>
                  </a:cubicBezTo>
                  <a:cubicBezTo>
                    <a:pt x="714" y="392"/>
                    <a:pt x="700" y="436"/>
                    <a:pt x="685" y="476"/>
                  </a:cubicBezTo>
                  <a:cubicBezTo>
                    <a:pt x="668" y="522"/>
                    <a:pt x="645" y="565"/>
                    <a:pt x="621" y="608"/>
                  </a:cubicBezTo>
                  <a:cubicBezTo>
                    <a:pt x="555" y="726"/>
                    <a:pt x="477" y="836"/>
                    <a:pt x="394" y="942"/>
                  </a:cubicBezTo>
                  <a:cubicBezTo>
                    <a:pt x="375" y="966"/>
                    <a:pt x="354" y="967"/>
                    <a:pt x="336" y="944"/>
                  </a:cubicBezTo>
                  <a:cubicBezTo>
                    <a:pt x="238" y="818"/>
                    <a:pt x="145" y="687"/>
                    <a:pt x="73" y="544"/>
                  </a:cubicBezTo>
                  <a:cubicBezTo>
                    <a:pt x="58" y="514"/>
                    <a:pt x="45" y="483"/>
                    <a:pt x="33" y="452"/>
                  </a:cubicBezTo>
                  <a:cubicBezTo>
                    <a:pt x="0" y="368"/>
                    <a:pt x="6" y="284"/>
                    <a:pt x="45" y="204"/>
                  </a:cubicBezTo>
                  <a:cubicBezTo>
                    <a:pt x="109" y="72"/>
                    <a:pt x="218" y="7"/>
                    <a:pt x="341" y="0"/>
                  </a:cubicBezTo>
                  <a:close/>
                  <a:moveTo>
                    <a:pt x="364" y="152"/>
                  </a:moveTo>
                  <a:cubicBezTo>
                    <a:pt x="271" y="152"/>
                    <a:pt x="196" y="228"/>
                    <a:pt x="196" y="320"/>
                  </a:cubicBezTo>
                  <a:cubicBezTo>
                    <a:pt x="196" y="413"/>
                    <a:pt x="272" y="488"/>
                    <a:pt x="364" y="488"/>
                  </a:cubicBezTo>
                  <a:cubicBezTo>
                    <a:pt x="457" y="488"/>
                    <a:pt x="532" y="412"/>
                    <a:pt x="532" y="320"/>
                  </a:cubicBezTo>
                  <a:cubicBezTo>
                    <a:pt x="532" y="227"/>
                    <a:pt x="456" y="152"/>
                    <a:pt x="364" y="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44769" tIns="72358" rIns="144769" bIns="72358" anchor="t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9303;p133">
              <a:extLst>
                <a:ext uri="{FF2B5EF4-FFF2-40B4-BE49-F238E27FC236}">
                  <a16:creationId xmlns:a16="http://schemas.microsoft.com/office/drawing/2014/main" id="{4786A5B0-C090-650B-4E62-7B5C443FF9F5}"/>
                </a:ext>
              </a:extLst>
            </p:cNvPr>
            <p:cNvSpPr/>
            <p:nvPr/>
          </p:nvSpPr>
          <p:spPr>
            <a:xfrm>
              <a:off x="7376308" y="2972979"/>
              <a:ext cx="41460" cy="41376"/>
            </a:xfrm>
            <a:custGeom>
              <a:avLst/>
              <a:gdLst/>
              <a:ahLst/>
              <a:cxnLst/>
              <a:rect l="l" t="t" r="r" b="b"/>
              <a:pathLst>
                <a:path w="209" h="209" extrusionOk="0">
                  <a:moveTo>
                    <a:pt x="104" y="209"/>
                  </a:moveTo>
                  <a:cubicBezTo>
                    <a:pt x="47" y="208"/>
                    <a:pt x="0" y="161"/>
                    <a:pt x="1" y="104"/>
                  </a:cubicBezTo>
                  <a:cubicBezTo>
                    <a:pt x="2" y="46"/>
                    <a:pt x="49" y="0"/>
                    <a:pt x="107" y="1"/>
                  </a:cubicBezTo>
                  <a:cubicBezTo>
                    <a:pt x="163" y="2"/>
                    <a:pt x="209" y="49"/>
                    <a:pt x="209" y="105"/>
                  </a:cubicBezTo>
                  <a:cubicBezTo>
                    <a:pt x="209" y="163"/>
                    <a:pt x="162" y="209"/>
                    <a:pt x="104" y="2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44769" tIns="72358" rIns="144769" bIns="72358" anchor="t" anchorCtr="0">
              <a:noAutofit/>
            </a:bodyPr>
            <a:lstStyle/>
            <a:p>
              <a:endParaRPr sz="20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" name="Shape0_20210701_084234">
            <a:extLst>
              <a:ext uri="{FF2B5EF4-FFF2-40B4-BE49-F238E27FC236}">
                <a16:creationId xmlns:a16="http://schemas.microsoft.com/office/drawing/2014/main" id="{F83B8052-0991-FACC-B459-4B79C7E85E99}"/>
              </a:ext>
            </a:extLst>
          </p:cNvPr>
          <p:cNvSpPr/>
          <p:nvPr/>
        </p:nvSpPr>
        <p:spPr>
          <a:xfrm>
            <a:off x="508640" y="1055005"/>
            <a:ext cx="10707228" cy="421243"/>
          </a:xfrm>
          <a:prstGeom prst="rect">
            <a:avLst/>
          </a:prstGeom>
          <a:solidFill>
            <a:schemeClr val="tx2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</a:t>
            </a:r>
            <a:endParaRPr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180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3</TotalTime>
  <Words>29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69</cp:revision>
  <dcterms:created xsi:type="dcterms:W3CDTF">2021-03-31T02:49:57Z</dcterms:created>
  <dcterms:modified xsi:type="dcterms:W3CDTF">2025-10-16T11:28:43Z</dcterms:modified>
  <cp:category/>
</cp:coreProperties>
</file>